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04" r:id="rId4"/>
    <p:sldMasterId id="2147484016" r:id="rId5"/>
  </p:sldMasterIdLst>
  <p:notesMasterIdLst>
    <p:notesMasterId r:id="rId33"/>
  </p:notesMasterIdLst>
  <p:handoutMasterIdLst>
    <p:handoutMasterId r:id="rId34"/>
  </p:handoutMasterIdLst>
  <p:sldIdLst>
    <p:sldId id="2147309685" r:id="rId6"/>
    <p:sldId id="2147472328" r:id="rId7"/>
    <p:sldId id="2147472321" r:id="rId8"/>
    <p:sldId id="2147472395" r:id="rId9"/>
    <p:sldId id="2147472425" r:id="rId10"/>
    <p:sldId id="2147472430" r:id="rId11"/>
    <p:sldId id="2147472431" r:id="rId12"/>
    <p:sldId id="2147472429" r:id="rId13"/>
    <p:sldId id="2147472312" r:id="rId14"/>
    <p:sldId id="2147472389" r:id="rId15"/>
    <p:sldId id="2147472385" r:id="rId16"/>
    <p:sldId id="2147472314" r:id="rId17"/>
    <p:sldId id="2147472388" r:id="rId18"/>
    <p:sldId id="2147472387" r:id="rId19"/>
    <p:sldId id="2147472427" r:id="rId20"/>
    <p:sldId id="2147472392" r:id="rId21"/>
    <p:sldId id="2147472311" r:id="rId22"/>
    <p:sldId id="2147472390" r:id="rId23"/>
    <p:sldId id="2147472391" r:id="rId24"/>
    <p:sldId id="2147472393" r:id="rId25"/>
    <p:sldId id="2147472396" r:id="rId26"/>
    <p:sldId id="2147472432" r:id="rId27"/>
    <p:sldId id="2147472426" r:id="rId28"/>
    <p:sldId id="2147472310" r:id="rId29"/>
    <p:sldId id="2147472423" r:id="rId30"/>
    <p:sldId id="2147472422" r:id="rId31"/>
    <p:sldId id="2147472394"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627A7A1-C2E4-452A-A4D6-1151A6F4C040}">
          <p14:sldIdLst>
            <p14:sldId id="2147309685"/>
            <p14:sldId id="2147472328"/>
            <p14:sldId id="2147472321"/>
            <p14:sldId id="2147472395"/>
            <p14:sldId id="2147472425"/>
            <p14:sldId id="2147472430"/>
            <p14:sldId id="2147472431"/>
            <p14:sldId id="2147472429"/>
            <p14:sldId id="2147472312"/>
            <p14:sldId id="2147472389"/>
            <p14:sldId id="2147472385"/>
            <p14:sldId id="2147472314"/>
            <p14:sldId id="2147472388"/>
            <p14:sldId id="2147472387"/>
            <p14:sldId id="2147472427"/>
            <p14:sldId id="2147472392"/>
            <p14:sldId id="2147472311"/>
            <p14:sldId id="2147472390"/>
            <p14:sldId id="2147472391"/>
            <p14:sldId id="2147472393"/>
            <p14:sldId id="2147472396"/>
            <p14:sldId id="2147472432"/>
            <p14:sldId id="2147472426"/>
            <p14:sldId id="2147472310"/>
            <p14:sldId id="2147472423"/>
            <p14:sldId id="2147472422"/>
            <p14:sldId id="214747239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0EAB5F-3030-946A-6011-6B22047DE8D9}" name="Wong, Alyssa" initials="WA" userId="S::alyswong@deloitte.com::80601413-c4b2-43cf-bfa4-9deab8bc0ad4" providerId="AD"/>
  <p188:author id="{CFC7B3B4-C606-9F39-30CE-C930565FBFDD}" name="Buising, Carl" initials="BC" userId="S::cbuising@deloitte.com::84fa6e76-f801-4c8f-b523-226615756e83" providerId="AD"/>
  <p188:author id="{68CF6BC2-B2D0-0360-C662-220F41E0EA9B}" name="Cairo, Melissa" initials="CM" userId="S::mcairo@deloitte.com::9c3284db-e4c9-46f5-8a86-4334db81e17b" providerId="AD"/>
  <p188:author id="{2C4771C8-DF44-6FA9-767E-1BB563D11C5D}" name="Kunko, Nicole" initials="NK" userId="Kunko, Nicole" providerId="None"/>
  <p188:author id="{2C465BEF-D883-484C-4F60-39F1B1E68750}" name="Hillard, Laura" initials="HL" userId="S::lhillard@deloitte.com::fb6b425a-e8d9-473f-bcd9-e45358f5bb1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erguson, Sydney" initials="FS" lastIdx="7" clrIdx="0">
    <p:extLst>
      <p:ext uri="{19B8F6BF-5375-455C-9EA6-DF929625EA0E}">
        <p15:presenceInfo xmlns:p15="http://schemas.microsoft.com/office/powerpoint/2012/main" userId="S::syferguson@deloitte.com::30b2907f-fab4-4a7c-bacd-f630c45c95bf" providerId="AD"/>
      </p:ext>
    </p:extLst>
  </p:cmAuthor>
  <p:cmAuthor id="2" name="Robinson, Olga" initials="RO" lastIdx="3" clrIdx="1">
    <p:extLst>
      <p:ext uri="{19B8F6BF-5375-455C-9EA6-DF929625EA0E}">
        <p15:presenceInfo xmlns:p15="http://schemas.microsoft.com/office/powerpoint/2012/main" userId="S::olrobinson@deloitte.com::be17f647-dd7e-424e-bfe4-10ec213914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1D76"/>
    <a:srgbClr val="1E428A"/>
    <a:srgbClr val="95D600"/>
    <a:srgbClr val="44546A"/>
    <a:srgbClr val="57C6ED"/>
    <a:srgbClr val="A1D3EF"/>
    <a:srgbClr val="C0E1F5"/>
    <a:srgbClr val="F4B082"/>
    <a:srgbClr val="ED7D31"/>
    <a:srgbClr val="B7E9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EC074E-6F0E-443B-A230-4644686CBAE4}" v="29" vWet="31" dt="2024-01-08T20:38:50.906"/>
    <p1510:client id="{FC0F3564-909F-4E85-A869-081C389E7D24}" v="1646" dt="2024-01-08T20:51:25.1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8" d="100"/>
          <a:sy n="58" d="100"/>
        </p:scale>
        <p:origin x="964" y="5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handoutMaster" Target="handoutMasters/handoutMaster1.xml"/><Relationship Id="rId42"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iro, Melissa" userId="9c3284db-e4c9-46f5-8a86-4334db81e17b" providerId="ADAL" clId="{A3EC074E-6F0E-443B-A230-4644686CBAE4}"/>
    <pc:docChg chg="modSld">
      <pc:chgData name="Cairo, Melissa" userId="9c3284db-e4c9-46f5-8a86-4334db81e17b" providerId="ADAL" clId="{A3EC074E-6F0E-443B-A230-4644686CBAE4}" dt="2024-01-08T20:30:50.939" v="24" actId="1035"/>
      <pc:docMkLst>
        <pc:docMk/>
      </pc:docMkLst>
      <pc:sldChg chg="modSp mod">
        <pc:chgData name="Cairo, Melissa" userId="9c3284db-e4c9-46f5-8a86-4334db81e17b" providerId="ADAL" clId="{A3EC074E-6F0E-443B-A230-4644686CBAE4}" dt="2024-01-08T20:29:57.453" v="0" actId="2711"/>
        <pc:sldMkLst>
          <pc:docMk/>
          <pc:sldMk cId="402946131" sldId="2147472314"/>
        </pc:sldMkLst>
        <pc:spChg chg="mod">
          <ac:chgData name="Cairo, Melissa" userId="9c3284db-e4c9-46f5-8a86-4334db81e17b" providerId="ADAL" clId="{A3EC074E-6F0E-443B-A230-4644686CBAE4}" dt="2024-01-08T20:29:57.453" v="0" actId="2711"/>
          <ac:spMkLst>
            <pc:docMk/>
            <pc:sldMk cId="402946131" sldId="2147472314"/>
            <ac:spMk id="24" creationId="{964923DB-2256-419B-A063-3239D1FC888E}"/>
          </ac:spMkLst>
        </pc:spChg>
      </pc:sldChg>
      <pc:sldChg chg="modSp mod">
        <pc:chgData name="Cairo, Melissa" userId="9c3284db-e4c9-46f5-8a86-4334db81e17b" providerId="ADAL" clId="{A3EC074E-6F0E-443B-A230-4644686CBAE4}" dt="2024-01-08T20:30:06.712" v="1" actId="2711"/>
        <pc:sldMkLst>
          <pc:docMk/>
          <pc:sldMk cId="1159091119" sldId="2147472392"/>
        </pc:sldMkLst>
        <pc:spChg chg="mod">
          <ac:chgData name="Cairo, Melissa" userId="9c3284db-e4c9-46f5-8a86-4334db81e17b" providerId="ADAL" clId="{A3EC074E-6F0E-443B-A230-4644686CBAE4}" dt="2024-01-08T20:30:06.712" v="1" actId="2711"/>
          <ac:spMkLst>
            <pc:docMk/>
            <pc:sldMk cId="1159091119" sldId="2147472392"/>
            <ac:spMk id="24" creationId="{964923DB-2256-419B-A063-3239D1FC888E}"/>
          </ac:spMkLst>
        </pc:spChg>
      </pc:sldChg>
      <pc:sldChg chg="modSp mod">
        <pc:chgData name="Cairo, Melissa" userId="9c3284db-e4c9-46f5-8a86-4334db81e17b" providerId="ADAL" clId="{A3EC074E-6F0E-443B-A230-4644686CBAE4}" dt="2024-01-08T20:30:17.495" v="2" actId="2711"/>
        <pc:sldMkLst>
          <pc:docMk/>
          <pc:sldMk cId="1132225721" sldId="2147472393"/>
        </pc:sldMkLst>
        <pc:spChg chg="mod">
          <ac:chgData name="Cairo, Melissa" userId="9c3284db-e4c9-46f5-8a86-4334db81e17b" providerId="ADAL" clId="{A3EC074E-6F0E-443B-A230-4644686CBAE4}" dt="2024-01-08T20:30:17.495" v="2" actId="2711"/>
          <ac:spMkLst>
            <pc:docMk/>
            <pc:sldMk cId="1132225721" sldId="2147472393"/>
            <ac:spMk id="24" creationId="{964923DB-2256-419B-A063-3239D1FC888E}"/>
          </ac:spMkLst>
        </pc:spChg>
      </pc:sldChg>
      <pc:sldChg chg="modSp mod">
        <pc:chgData name="Cairo, Melissa" userId="9c3284db-e4c9-46f5-8a86-4334db81e17b" providerId="ADAL" clId="{A3EC074E-6F0E-443B-A230-4644686CBAE4}" dt="2024-01-08T20:30:23.538" v="3" actId="2711"/>
        <pc:sldMkLst>
          <pc:docMk/>
          <pc:sldMk cId="1154993897" sldId="2147472396"/>
        </pc:sldMkLst>
        <pc:spChg chg="mod">
          <ac:chgData name="Cairo, Melissa" userId="9c3284db-e4c9-46f5-8a86-4334db81e17b" providerId="ADAL" clId="{A3EC074E-6F0E-443B-A230-4644686CBAE4}" dt="2024-01-08T20:30:23.538" v="3" actId="2711"/>
          <ac:spMkLst>
            <pc:docMk/>
            <pc:sldMk cId="1154993897" sldId="2147472396"/>
            <ac:spMk id="24" creationId="{964923DB-2256-419B-A063-3239D1FC888E}"/>
          </ac:spMkLst>
        </pc:spChg>
      </pc:sldChg>
      <pc:sldChg chg="addSp modSp mod">
        <pc:chgData name="Cairo, Melissa" userId="9c3284db-e4c9-46f5-8a86-4334db81e17b" providerId="ADAL" clId="{A3EC074E-6F0E-443B-A230-4644686CBAE4}" dt="2024-01-08T20:30:50.939" v="24" actId="1035"/>
        <pc:sldMkLst>
          <pc:docMk/>
          <pc:sldMk cId="3080203027" sldId="2147472432"/>
        </pc:sldMkLst>
        <pc:spChg chg="add mod">
          <ac:chgData name="Cairo, Melissa" userId="9c3284db-e4c9-46f5-8a86-4334db81e17b" providerId="ADAL" clId="{A3EC074E-6F0E-443B-A230-4644686CBAE4}" dt="2024-01-08T20:30:48.184" v="15" actId="20577"/>
          <ac:spMkLst>
            <pc:docMk/>
            <pc:sldMk cId="3080203027" sldId="2147472432"/>
            <ac:spMk id="2" creationId="{EC584B7A-1F70-5C42-A466-138A2304FBEE}"/>
          </ac:spMkLst>
        </pc:spChg>
        <pc:picChg chg="mod">
          <ac:chgData name="Cairo, Melissa" userId="9c3284db-e4c9-46f5-8a86-4334db81e17b" providerId="ADAL" clId="{A3EC074E-6F0E-443B-A230-4644686CBAE4}" dt="2024-01-08T20:30:50.939" v="24" actId="1035"/>
          <ac:picMkLst>
            <pc:docMk/>
            <pc:sldMk cId="3080203027" sldId="2147472432"/>
            <ac:picMk id="5" creationId="{FBABD96F-C8BD-9CFE-4E37-13AC8279CCB0}"/>
          </ac:picMkLst>
        </pc:picChg>
      </pc:sldChg>
    </pc:docChg>
  </pc:docChgLst>
  <pc:docChgLst>
    <pc:chgData name="Hillard, Laura" userId="fb6b425a-e8d9-473f-bcd9-e45358f5bb1d" providerId="ADAL" clId="{1576AC40-A49B-488C-8A95-8F3276979FA6}"/>
    <pc:docChg chg="undo redo custSel addSld delSld modSld sldOrd delMainMaster delSection modSection">
      <pc:chgData name="Hillard, Laura" userId="fb6b425a-e8d9-473f-bcd9-e45358f5bb1d" providerId="ADAL" clId="{1576AC40-A49B-488C-8A95-8F3276979FA6}" dt="2023-08-22T20:56:44.368" v="1758" actId="20577"/>
      <pc:docMkLst>
        <pc:docMk/>
      </pc:docMkLst>
      <pc:sldChg chg="del">
        <pc:chgData name="Hillard, Laura" userId="fb6b425a-e8d9-473f-bcd9-e45358f5bb1d" providerId="ADAL" clId="{1576AC40-A49B-488C-8A95-8F3276979FA6}" dt="2023-08-22T18:03:12.059" v="1257" actId="47"/>
        <pc:sldMkLst>
          <pc:docMk/>
          <pc:sldMk cId="836433360" sldId="2147309316"/>
        </pc:sldMkLst>
      </pc:sldChg>
      <pc:sldChg chg="ord">
        <pc:chgData name="Hillard, Laura" userId="fb6b425a-e8d9-473f-bcd9-e45358f5bb1d" providerId="ADAL" clId="{1576AC40-A49B-488C-8A95-8F3276979FA6}" dt="2023-08-22T13:45:29.573" v="593"/>
        <pc:sldMkLst>
          <pc:docMk/>
          <pc:sldMk cId="2618963904" sldId="2147309661"/>
        </pc:sldMkLst>
      </pc:sldChg>
      <pc:sldChg chg="addSp modSp mod delCm">
        <pc:chgData name="Hillard, Laura" userId="fb6b425a-e8d9-473f-bcd9-e45358f5bb1d" providerId="ADAL" clId="{1576AC40-A49B-488C-8A95-8F3276979FA6}" dt="2023-08-22T17:51:06.712" v="1249"/>
        <pc:sldMkLst>
          <pc:docMk/>
          <pc:sldMk cId="2360244395" sldId="2147309686"/>
        </pc:sldMkLst>
        <pc:spChg chg="mod">
          <ac:chgData name="Hillard, Laura" userId="fb6b425a-e8d9-473f-bcd9-e45358f5bb1d" providerId="ADAL" clId="{1576AC40-A49B-488C-8A95-8F3276979FA6}" dt="2023-08-22T17:50:35.757" v="1245" actId="20577"/>
          <ac:spMkLst>
            <pc:docMk/>
            <pc:sldMk cId="2360244395" sldId="2147309686"/>
            <ac:spMk id="18" creationId="{DCD44ED1-D3E9-4BA7-9596-E1B01A5633E4}"/>
          </ac:spMkLst>
        </pc:spChg>
        <pc:spChg chg="mod">
          <ac:chgData name="Hillard, Laura" userId="fb6b425a-e8d9-473f-bcd9-e45358f5bb1d" providerId="ADAL" clId="{1576AC40-A49B-488C-8A95-8F3276979FA6}" dt="2023-08-22T17:50:57.477" v="1248" actId="20577"/>
          <ac:spMkLst>
            <pc:docMk/>
            <pc:sldMk cId="2360244395" sldId="2147309686"/>
            <ac:spMk id="27" creationId="{501D257F-39AC-5F9C-2514-A246C8782ECE}"/>
          </ac:spMkLst>
        </pc:spChg>
        <pc:spChg chg="mod">
          <ac:chgData name="Hillard, Laura" userId="fb6b425a-e8d9-473f-bcd9-e45358f5bb1d" providerId="ADAL" clId="{1576AC40-A49B-488C-8A95-8F3276979FA6}" dt="2023-08-22T17:50:24.925" v="1206"/>
          <ac:spMkLst>
            <pc:docMk/>
            <pc:sldMk cId="2360244395" sldId="2147309686"/>
            <ac:spMk id="28" creationId="{E51DCBFB-0FC4-651C-44A5-3E5C57BF77EB}"/>
          </ac:spMkLst>
        </pc:spChg>
        <pc:grpChg chg="mod">
          <ac:chgData name="Hillard, Laura" userId="fb6b425a-e8d9-473f-bcd9-e45358f5bb1d" providerId="ADAL" clId="{1576AC40-A49B-488C-8A95-8F3276979FA6}" dt="2023-08-22T17:50:21.917" v="1205" actId="1036"/>
          <ac:grpSpMkLst>
            <pc:docMk/>
            <pc:sldMk cId="2360244395" sldId="2147309686"/>
            <ac:grpSpMk id="4" creationId="{D219FD86-B6F3-4E85-AAFB-5FFA3FEF47DD}"/>
          </ac:grpSpMkLst>
        </pc:grpChg>
        <pc:grpChg chg="mod">
          <ac:chgData name="Hillard, Laura" userId="fb6b425a-e8d9-473f-bcd9-e45358f5bb1d" providerId="ADAL" clId="{1576AC40-A49B-488C-8A95-8F3276979FA6}" dt="2023-08-22T17:50:53.640" v="1247" actId="465"/>
          <ac:grpSpMkLst>
            <pc:docMk/>
            <pc:sldMk cId="2360244395" sldId="2147309686"/>
            <ac:grpSpMk id="8" creationId="{3748B3AE-EFFF-496B-ACE0-D4571BEB8BE9}"/>
          </ac:grpSpMkLst>
        </pc:grpChg>
        <pc:grpChg chg="mod">
          <ac:chgData name="Hillard, Laura" userId="fb6b425a-e8d9-473f-bcd9-e45358f5bb1d" providerId="ADAL" clId="{1576AC40-A49B-488C-8A95-8F3276979FA6}" dt="2023-08-22T17:50:53.640" v="1247" actId="465"/>
          <ac:grpSpMkLst>
            <pc:docMk/>
            <pc:sldMk cId="2360244395" sldId="2147309686"/>
            <ac:grpSpMk id="12" creationId="{175ADA4B-FE16-45FC-A00A-5FE7324AB612}"/>
          </ac:grpSpMkLst>
        </pc:grpChg>
        <pc:grpChg chg="mod">
          <ac:chgData name="Hillard, Laura" userId="fb6b425a-e8d9-473f-bcd9-e45358f5bb1d" providerId="ADAL" clId="{1576AC40-A49B-488C-8A95-8F3276979FA6}" dt="2023-08-22T17:50:53.640" v="1247" actId="465"/>
          <ac:grpSpMkLst>
            <pc:docMk/>
            <pc:sldMk cId="2360244395" sldId="2147309686"/>
            <ac:grpSpMk id="16" creationId="{00B2AB4C-BB14-4C0D-AF7D-A6D4B9CA69EF}"/>
          </ac:grpSpMkLst>
        </pc:grpChg>
        <pc:grpChg chg="mod">
          <ac:chgData name="Hillard, Laura" userId="fb6b425a-e8d9-473f-bcd9-e45358f5bb1d" providerId="ADAL" clId="{1576AC40-A49B-488C-8A95-8F3276979FA6}" dt="2023-08-22T17:50:53.640" v="1247" actId="465"/>
          <ac:grpSpMkLst>
            <pc:docMk/>
            <pc:sldMk cId="2360244395" sldId="2147309686"/>
            <ac:grpSpMk id="20" creationId="{97818ED5-671A-41B6-8FED-35CC51D78E82}"/>
          </ac:grpSpMkLst>
        </pc:grpChg>
        <pc:grpChg chg="add mod">
          <ac:chgData name="Hillard, Laura" userId="fb6b425a-e8d9-473f-bcd9-e45358f5bb1d" providerId="ADAL" clId="{1576AC40-A49B-488C-8A95-8F3276979FA6}" dt="2023-08-22T17:50:27.066" v="1207" actId="1076"/>
          <ac:grpSpMkLst>
            <pc:docMk/>
            <pc:sldMk cId="2360244395" sldId="2147309686"/>
            <ac:grpSpMk id="26" creationId="{2EA24872-E32A-249D-F45D-1A7D1C177247}"/>
          </ac:grpSpMkLst>
        </pc:grpChg>
        <pc:cxnChg chg="mod">
          <ac:chgData name="Hillard, Laura" userId="fb6b425a-e8d9-473f-bcd9-e45358f5bb1d" providerId="ADAL" clId="{1576AC40-A49B-488C-8A95-8F3276979FA6}" dt="2023-08-22T17:50:46.133" v="1246" actId="208"/>
          <ac:cxnSpMkLst>
            <pc:docMk/>
            <pc:sldMk cId="2360244395" sldId="2147309686"/>
            <ac:cxnSpMk id="19" creationId="{42C15239-B2E4-48B2-A7B4-FFC20B9C2984}"/>
          </ac:cxnSpMkLst>
        </pc:cxnChg>
        <pc:cxnChg chg="mod">
          <ac:chgData name="Hillard, Laura" userId="fb6b425a-e8d9-473f-bcd9-e45358f5bb1d" providerId="ADAL" clId="{1576AC40-A49B-488C-8A95-8F3276979FA6}" dt="2023-08-22T17:50:24.925" v="1206"/>
          <ac:cxnSpMkLst>
            <pc:docMk/>
            <pc:sldMk cId="2360244395" sldId="2147309686"/>
            <ac:cxnSpMk id="29" creationId="{F5B69E06-8FDD-2D78-FF4D-64BBD009BF4B}"/>
          </ac:cxnSpMkLst>
        </pc:cxnChg>
      </pc:sldChg>
      <pc:sldChg chg="addSp delSp modSp mod modAnim delCm">
        <pc:chgData name="Hillard, Laura" userId="fb6b425a-e8d9-473f-bcd9-e45358f5bb1d" providerId="ADAL" clId="{1576AC40-A49B-488C-8A95-8F3276979FA6}" dt="2023-08-22T16:21:16.720" v="1074" actId="20577"/>
        <pc:sldMkLst>
          <pc:docMk/>
          <pc:sldMk cId="938788667" sldId="2147309703"/>
        </pc:sldMkLst>
        <pc:spChg chg="mod topLvl">
          <ac:chgData name="Hillard, Laura" userId="fb6b425a-e8d9-473f-bcd9-e45358f5bb1d" providerId="ADAL" clId="{1576AC40-A49B-488C-8A95-8F3276979FA6}" dt="2023-08-22T16:20:41.682" v="1061" actId="554"/>
          <ac:spMkLst>
            <pc:docMk/>
            <pc:sldMk cId="938788667" sldId="2147309703"/>
            <ac:spMk id="83" creationId="{0DFD236C-5F17-410E-BFE7-993834A060A4}"/>
          </ac:spMkLst>
        </pc:spChg>
        <pc:spChg chg="del topLvl">
          <ac:chgData name="Hillard, Laura" userId="fb6b425a-e8d9-473f-bcd9-e45358f5bb1d" providerId="ADAL" clId="{1576AC40-A49B-488C-8A95-8F3276979FA6}" dt="2023-08-22T16:20:20.664" v="990" actId="478"/>
          <ac:spMkLst>
            <pc:docMk/>
            <pc:sldMk cId="938788667" sldId="2147309703"/>
            <ac:spMk id="84" creationId="{4F325AED-D67E-4CD8-B00F-3F3BEEB36301}"/>
          </ac:spMkLst>
        </pc:spChg>
        <pc:spChg chg="mod topLvl">
          <ac:chgData name="Hillard, Laura" userId="fb6b425a-e8d9-473f-bcd9-e45358f5bb1d" providerId="ADAL" clId="{1576AC40-A49B-488C-8A95-8F3276979FA6}" dt="2023-08-22T16:21:16.720" v="1074" actId="20577"/>
          <ac:spMkLst>
            <pc:docMk/>
            <pc:sldMk cId="938788667" sldId="2147309703"/>
            <ac:spMk id="95" creationId="{1089D1EB-D7E0-471A-9E5C-216C81C2F929}"/>
          </ac:spMkLst>
        </pc:spChg>
        <pc:spChg chg="del topLvl">
          <ac:chgData name="Hillard, Laura" userId="fb6b425a-e8d9-473f-bcd9-e45358f5bb1d" providerId="ADAL" clId="{1576AC40-A49B-488C-8A95-8F3276979FA6}" dt="2023-08-22T16:20:18.674" v="989" actId="478"/>
          <ac:spMkLst>
            <pc:docMk/>
            <pc:sldMk cId="938788667" sldId="2147309703"/>
            <ac:spMk id="96" creationId="{0D4B72C2-C581-40F6-9687-546902271A29}"/>
          </ac:spMkLst>
        </pc:spChg>
        <pc:spChg chg="mod topLvl">
          <ac:chgData name="Hillard, Laura" userId="fb6b425a-e8d9-473f-bcd9-e45358f5bb1d" providerId="ADAL" clId="{1576AC40-A49B-488C-8A95-8F3276979FA6}" dt="2023-08-22T16:20:41.682" v="1061" actId="554"/>
          <ac:spMkLst>
            <pc:docMk/>
            <pc:sldMk cId="938788667" sldId="2147309703"/>
            <ac:spMk id="114" creationId="{AE20B904-9747-415C-85FD-5BD0BF1BBB96}"/>
          </ac:spMkLst>
        </pc:spChg>
        <pc:spChg chg="del topLvl">
          <ac:chgData name="Hillard, Laura" userId="fb6b425a-e8d9-473f-bcd9-e45358f5bb1d" providerId="ADAL" clId="{1576AC40-A49B-488C-8A95-8F3276979FA6}" dt="2023-08-22T16:20:13.536" v="987" actId="478"/>
          <ac:spMkLst>
            <pc:docMk/>
            <pc:sldMk cId="938788667" sldId="2147309703"/>
            <ac:spMk id="115" creationId="{6C725838-4773-494D-925D-803D606C0B0B}"/>
          </ac:spMkLst>
        </pc:spChg>
        <pc:spChg chg="mod topLvl">
          <ac:chgData name="Hillard, Laura" userId="fb6b425a-e8d9-473f-bcd9-e45358f5bb1d" providerId="ADAL" clId="{1576AC40-A49B-488C-8A95-8F3276979FA6}" dt="2023-08-22T16:20:47.030" v="1062" actId="555"/>
          <ac:spMkLst>
            <pc:docMk/>
            <pc:sldMk cId="938788667" sldId="2147309703"/>
            <ac:spMk id="121" creationId="{9CA15938-5F22-438A-932D-934083767667}"/>
          </ac:spMkLst>
        </pc:spChg>
        <pc:spChg chg="add del mod topLvl">
          <ac:chgData name="Hillard, Laura" userId="fb6b425a-e8d9-473f-bcd9-e45358f5bb1d" providerId="ADAL" clId="{1576AC40-A49B-488C-8A95-8F3276979FA6}" dt="2023-08-22T16:20:15.425" v="988" actId="478"/>
          <ac:spMkLst>
            <pc:docMk/>
            <pc:sldMk cId="938788667" sldId="2147309703"/>
            <ac:spMk id="122" creationId="{1C070011-9125-4E5F-95E3-F01FACBB530E}"/>
          </ac:spMkLst>
        </pc:spChg>
        <pc:spChg chg="mod topLvl">
          <ac:chgData name="Hillard, Laura" userId="fb6b425a-e8d9-473f-bcd9-e45358f5bb1d" providerId="ADAL" clId="{1576AC40-A49B-488C-8A95-8F3276979FA6}" dt="2023-08-22T16:20:47.030" v="1062" actId="555"/>
          <ac:spMkLst>
            <pc:docMk/>
            <pc:sldMk cId="938788667" sldId="2147309703"/>
            <ac:spMk id="133" creationId="{7B225B10-ED3D-432D-B6AD-229C473B05DC}"/>
          </ac:spMkLst>
        </pc:spChg>
        <pc:spChg chg="del topLvl">
          <ac:chgData name="Hillard, Laura" userId="fb6b425a-e8d9-473f-bcd9-e45358f5bb1d" providerId="ADAL" clId="{1576AC40-A49B-488C-8A95-8F3276979FA6}" dt="2023-08-22T16:20:22.575" v="991" actId="478"/>
          <ac:spMkLst>
            <pc:docMk/>
            <pc:sldMk cId="938788667" sldId="2147309703"/>
            <ac:spMk id="134" creationId="{E4CE71A2-0971-4F97-B3A7-C65D9282C037}"/>
          </ac:spMkLst>
        </pc:spChg>
        <pc:grpChg chg="del">
          <ac:chgData name="Hillard, Laura" userId="fb6b425a-e8d9-473f-bcd9-e45358f5bb1d" providerId="ADAL" clId="{1576AC40-A49B-488C-8A95-8F3276979FA6}" dt="2023-08-22T16:20:20.664" v="990" actId="478"/>
          <ac:grpSpMkLst>
            <pc:docMk/>
            <pc:sldMk cId="938788667" sldId="2147309703"/>
            <ac:grpSpMk id="82" creationId="{040DA80C-8437-450A-9628-6B0AB46D0DAE}"/>
          </ac:grpSpMkLst>
        </pc:grpChg>
        <pc:grpChg chg="del">
          <ac:chgData name="Hillard, Laura" userId="fb6b425a-e8d9-473f-bcd9-e45358f5bb1d" providerId="ADAL" clId="{1576AC40-A49B-488C-8A95-8F3276979FA6}" dt="2023-08-22T16:20:18.674" v="989" actId="478"/>
          <ac:grpSpMkLst>
            <pc:docMk/>
            <pc:sldMk cId="938788667" sldId="2147309703"/>
            <ac:grpSpMk id="94" creationId="{CF94F59C-DB85-4F15-BD42-65C2E365ADAC}"/>
          </ac:grpSpMkLst>
        </pc:grpChg>
        <pc:grpChg chg="del">
          <ac:chgData name="Hillard, Laura" userId="fb6b425a-e8d9-473f-bcd9-e45358f5bb1d" providerId="ADAL" clId="{1576AC40-A49B-488C-8A95-8F3276979FA6}" dt="2023-08-22T16:20:13.536" v="987" actId="478"/>
          <ac:grpSpMkLst>
            <pc:docMk/>
            <pc:sldMk cId="938788667" sldId="2147309703"/>
            <ac:grpSpMk id="113" creationId="{58970BEB-F26A-4904-A3A5-1F2F8FDDB8F8}"/>
          </ac:grpSpMkLst>
        </pc:grpChg>
        <pc:grpChg chg="add del">
          <ac:chgData name="Hillard, Laura" userId="fb6b425a-e8d9-473f-bcd9-e45358f5bb1d" providerId="ADAL" clId="{1576AC40-A49B-488C-8A95-8F3276979FA6}" dt="2023-08-22T16:20:15.425" v="988" actId="478"/>
          <ac:grpSpMkLst>
            <pc:docMk/>
            <pc:sldMk cId="938788667" sldId="2147309703"/>
            <ac:grpSpMk id="120" creationId="{2B53C12C-71A9-4919-BAC7-2235B1548ACA}"/>
          </ac:grpSpMkLst>
        </pc:grpChg>
        <pc:grpChg chg="del">
          <ac:chgData name="Hillard, Laura" userId="fb6b425a-e8d9-473f-bcd9-e45358f5bb1d" providerId="ADAL" clId="{1576AC40-A49B-488C-8A95-8F3276979FA6}" dt="2023-08-22T16:20:22.575" v="991" actId="478"/>
          <ac:grpSpMkLst>
            <pc:docMk/>
            <pc:sldMk cId="938788667" sldId="2147309703"/>
            <ac:grpSpMk id="132" creationId="{66BC7C7D-CB25-4967-B0E4-FD681E54B4FE}"/>
          </ac:grpSpMkLst>
        </pc:grpChg>
      </pc:sldChg>
      <pc:sldChg chg="del">
        <pc:chgData name="Hillard, Laura" userId="fb6b425a-e8d9-473f-bcd9-e45358f5bb1d" providerId="ADAL" clId="{1576AC40-A49B-488C-8A95-8F3276979FA6}" dt="2023-08-22T18:03:12.059" v="1257" actId="47"/>
        <pc:sldMkLst>
          <pc:docMk/>
          <pc:sldMk cId="724742027" sldId="2147309717"/>
        </pc:sldMkLst>
      </pc:sldChg>
      <pc:sldChg chg="modSp mod">
        <pc:chgData name="Hillard, Laura" userId="fb6b425a-e8d9-473f-bcd9-e45358f5bb1d" providerId="ADAL" clId="{1576AC40-A49B-488C-8A95-8F3276979FA6}" dt="2023-08-22T19:55:06.929" v="1314" actId="20577"/>
        <pc:sldMkLst>
          <pc:docMk/>
          <pc:sldMk cId="2896434862" sldId="2147309719"/>
        </pc:sldMkLst>
        <pc:spChg chg="mod">
          <ac:chgData name="Hillard, Laura" userId="fb6b425a-e8d9-473f-bcd9-e45358f5bb1d" providerId="ADAL" clId="{1576AC40-A49B-488C-8A95-8F3276979FA6}" dt="2023-08-22T19:55:06.929" v="1314" actId="20577"/>
          <ac:spMkLst>
            <pc:docMk/>
            <pc:sldMk cId="2896434862" sldId="2147309719"/>
            <ac:spMk id="54" creationId="{920876C0-C2BB-4F6D-9005-9749D30973AA}"/>
          </ac:spMkLst>
        </pc:spChg>
      </pc:sldChg>
      <pc:sldChg chg="del">
        <pc:chgData name="Hillard, Laura" userId="fb6b425a-e8d9-473f-bcd9-e45358f5bb1d" providerId="ADAL" clId="{1576AC40-A49B-488C-8A95-8F3276979FA6}" dt="2023-08-22T18:03:12.059" v="1257" actId="47"/>
        <pc:sldMkLst>
          <pc:docMk/>
          <pc:sldMk cId="482197398" sldId="2147309723"/>
        </pc:sldMkLst>
      </pc:sldChg>
      <pc:sldChg chg="del">
        <pc:chgData name="Hillard, Laura" userId="fb6b425a-e8d9-473f-bcd9-e45358f5bb1d" providerId="ADAL" clId="{1576AC40-A49B-488C-8A95-8F3276979FA6}" dt="2023-08-22T15:41:26.086" v="855" actId="47"/>
        <pc:sldMkLst>
          <pc:docMk/>
          <pc:sldMk cId="3048672209" sldId="2147309729"/>
        </pc:sldMkLst>
      </pc:sldChg>
      <pc:sldChg chg="del">
        <pc:chgData name="Hillard, Laura" userId="fb6b425a-e8d9-473f-bcd9-e45358f5bb1d" providerId="ADAL" clId="{1576AC40-A49B-488C-8A95-8F3276979FA6}" dt="2023-08-22T18:03:12.059" v="1257" actId="47"/>
        <pc:sldMkLst>
          <pc:docMk/>
          <pc:sldMk cId="2816985716" sldId="2147472279"/>
        </pc:sldMkLst>
      </pc:sldChg>
      <pc:sldChg chg="modSp mod delCm">
        <pc:chgData name="Hillard, Laura" userId="fb6b425a-e8d9-473f-bcd9-e45358f5bb1d" providerId="ADAL" clId="{1576AC40-A49B-488C-8A95-8F3276979FA6}" dt="2023-08-22T18:02:30.874" v="1256"/>
        <pc:sldMkLst>
          <pc:docMk/>
          <pc:sldMk cId="103226455" sldId="2147472280"/>
        </pc:sldMkLst>
        <pc:spChg chg="mod">
          <ac:chgData name="Hillard, Laura" userId="fb6b425a-e8d9-473f-bcd9-e45358f5bb1d" providerId="ADAL" clId="{1576AC40-A49B-488C-8A95-8F3276979FA6}" dt="2023-08-22T00:36:58.949" v="504" actId="14100"/>
          <ac:spMkLst>
            <pc:docMk/>
            <pc:sldMk cId="103226455" sldId="2147472280"/>
            <ac:spMk id="2" creationId="{94DDEAA1-BF9A-5DB1-591D-4E05BCDF18EA}"/>
          </ac:spMkLst>
        </pc:spChg>
        <pc:spChg chg="mod">
          <ac:chgData name="Hillard, Laura" userId="fb6b425a-e8d9-473f-bcd9-e45358f5bb1d" providerId="ADAL" clId="{1576AC40-A49B-488C-8A95-8F3276979FA6}" dt="2023-08-22T13:34:41.086" v="582" actId="20577"/>
          <ac:spMkLst>
            <pc:docMk/>
            <pc:sldMk cId="103226455" sldId="2147472280"/>
            <ac:spMk id="49" creationId="{AB9A443A-8152-AB08-9D86-33ED1788EFF6}"/>
          </ac:spMkLst>
        </pc:spChg>
        <pc:spChg chg="mod">
          <ac:chgData name="Hillard, Laura" userId="fb6b425a-e8d9-473f-bcd9-e45358f5bb1d" providerId="ADAL" clId="{1576AC40-A49B-488C-8A95-8F3276979FA6}" dt="2023-08-22T00:37:02.215" v="505" actId="14100"/>
          <ac:spMkLst>
            <pc:docMk/>
            <pc:sldMk cId="103226455" sldId="2147472280"/>
            <ac:spMk id="55" creationId="{34B673A0-382A-B337-3560-2329F60E3321}"/>
          </ac:spMkLst>
        </pc:spChg>
        <pc:spChg chg="mod">
          <ac:chgData name="Hillard, Laura" userId="fb6b425a-e8d9-473f-bcd9-e45358f5bb1d" providerId="ADAL" clId="{1576AC40-A49B-488C-8A95-8F3276979FA6}" dt="2023-08-22T00:36:48.584" v="502" actId="14100"/>
          <ac:spMkLst>
            <pc:docMk/>
            <pc:sldMk cId="103226455" sldId="2147472280"/>
            <ac:spMk id="74" creationId="{66803590-8AFB-7080-36DF-43C9C03B8EEE}"/>
          </ac:spMkLst>
        </pc:spChg>
      </pc:sldChg>
      <pc:sldChg chg="del">
        <pc:chgData name="Hillard, Laura" userId="fb6b425a-e8d9-473f-bcd9-e45358f5bb1d" providerId="ADAL" clId="{1576AC40-A49B-488C-8A95-8F3276979FA6}" dt="2023-08-22T18:03:12.059" v="1257" actId="47"/>
        <pc:sldMkLst>
          <pc:docMk/>
          <pc:sldMk cId="1306538718" sldId="2147472281"/>
        </pc:sldMkLst>
      </pc:sldChg>
      <pc:sldChg chg="del">
        <pc:chgData name="Hillard, Laura" userId="fb6b425a-e8d9-473f-bcd9-e45358f5bb1d" providerId="ADAL" clId="{1576AC40-A49B-488C-8A95-8F3276979FA6}" dt="2023-08-22T18:03:12.059" v="1257" actId="47"/>
        <pc:sldMkLst>
          <pc:docMk/>
          <pc:sldMk cId="3871786098" sldId="2147472282"/>
        </pc:sldMkLst>
      </pc:sldChg>
      <pc:sldChg chg="modSp del mod">
        <pc:chgData name="Hillard, Laura" userId="fb6b425a-e8d9-473f-bcd9-e45358f5bb1d" providerId="ADAL" clId="{1576AC40-A49B-488C-8A95-8F3276979FA6}" dt="2023-08-22T20:40:46.898" v="1493" actId="47"/>
        <pc:sldMkLst>
          <pc:docMk/>
          <pc:sldMk cId="1832112976" sldId="2147472283"/>
        </pc:sldMkLst>
        <pc:grpChg chg="mod">
          <ac:chgData name="Hillard, Laura" userId="fb6b425a-e8d9-473f-bcd9-e45358f5bb1d" providerId="ADAL" clId="{1576AC40-A49B-488C-8A95-8F3276979FA6}" dt="2023-08-22T17:54:58.482" v="1253" actId="1036"/>
          <ac:grpSpMkLst>
            <pc:docMk/>
            <pc:sldMk cId="1832112976" sldId="2147472283"/>
            <ac:grpSpMk id="94" creationId="{31B437A9-C717-0F8A-3A51-EFE96FED9B32}"/>
          </ac:grpSpMkLst>
        </pc:grpChg>
      </pc:sldChg>
      <pc:sldChg chg="del">
        <pc:chgData name="Hillard, Laura" userId="fb6b425a-e8d9-473f-bcd9-e45358f5bb1d" providerId="ADAL" clId="{1576AC40-A49B-488C-8A95-8F3276979FA6}" dt="2023-08-22T18:03:12.059" v="1257" actId="47"/>
        <pc:sldMkLst>
          <pc:docMk/>
          <pc:sldMk cId="3578267910" sldId="2147472284"/>
        </pc:sldMkLst>
      </pc:sldChg>
      <pc:sldChg chg="modSp mod delCm">
        <pc:chgData name="Hillard, Laura" userId="fb6b425a-e8d9-473f-bcd9-e45358f5bb1d" providerId="ADAL" clId="{1576AC40-A49B-488C-8A95-8F3276979FA6}" dt="2023-08-22T18:02:27.460" v="1255"/>
        <pc:sldMkLst>
          <pc:docMk/>
          <pc:sldMk cId="1044946537" sldId="2147472287"/>
        </pc:sldMkLst>
        <pc:spChg chg="mod">
          <ac:chgData name="Hillard, Laura" userId="fb6b425a-e8d9-473f-bcd9-e45358f5bb1d" providerId="ADAL" clId="{1576AC40-A49B-488C-8A95-8F3276979FA6}" dt="2023-08-22T15:46:43.462" v="954" actId="20577"/>
          <ac:spMkLst>
            <pc:docMk/>
            <pc:sldMk cId="1044946537" sldId="2147472287"/>
            <ac:spMk id="24" creationId="{964923DB-2256-419B-A063-3239D1FC888E}"/>
          </ac:spMkLst>
        </pc:spChg>
      </pc:sldChg>
      <pc:sldChg chg="delCm">
        <pc:chgData name="Hillard, Laura" userId="fb6b425a-e8d9-473f-bcd9-e45358f5bb1d" providerId="ADAL" clId="{1576AC40-A49B-488C-8A95-8F3276979FA6}" dt="2023-08-22T13:42:36.999" v="590"/>
        <pc:sldMkLst>
          <pc:docMk/>
          <pc:sldMk cId="3135305435" sldId="2147472288"/>
        </pc:sldMkLst>
      </pc:sldChg>
      <pc:sldChg chg="del">
        <pc:chgData name="Hillard, Laura" userId="fb6b425a-e8d9-473f-bcd9-e45358f5bb1d" providerId="ADAL" clId="{1576AC40-A49B-488C-8A95-8F3276979FA6}" dt="2023-08-22T18:03:12.059" v="1257" actId="47"/>
        <pc:sldMkLst>
          <pc:docMk/>
          <pc:sldMk cId="2459806374" sldId="2147472306"/>
        </pc:sldMkLst>
      </pc:sldChg>
      <pc:sldChg chg="delCm">
        <pc:chgData name="Hillard, Laura" userId="fb6b425a-e8d9-473f-bcd9-e45358f5bb1d" providerId="ADAL" clId="{1576AC40-A49B-488C-8A95-8F3276979FA6}" dt="2023-08-22T16:28:49.447" v="1075"/>
        <pc:sldMkLst>
          <pc:docMk/>
          <pc:sldMk cId="81513845" sldId="2147472307"/>
        </pc:sldMkLst>
      </pc:sldChg>
      <pc:sldChg chg="modSp mod delCm">
        <pc:chgData name="Hillard, Laura" userId="fb6b425a-e8d9-473f-bcd9-e45358f5bb1d" providerId="ADAL" clId="{1576AC40-A49B-488C-8A95-8F3276979FA6}" dt="2023-08-22T15:46:29.679" v="928" actId="20577"/>
        <pc:sldMkLst>
          <pc:docMk/>
          <pc:sldMk cId="113113539" sldId="2147472313"/>
        </pc:sldMkLst>
        <pc:spChg chg="mod">
          <ac:chgData name="Hillard, Laura" userId="fb6b425a-e8d9-473f-bcd9-e45358f5bb1d" providerId="ADAL" clId="{1576AC40-A49B-488C-8A95-8F3276979FA6}" dt="2023-08-22T15:46:29.679" v="928" actId="20577"/>
          <ac:spMkLst>
            <pc:docMk/>
            <pc:sldMk cId="113113539" sldId="2147472313"/>
            <ac:spMk id="24" creationId="{964923DB-2256-419B-A063-3239D1FC888E}"/>
          </ac:spMkLst>
        </pc:spChg>
      </pc:sldChg>
      <pc:sldChg chg="modSp mod addCm delCm modCm">
        <pc:chgData name="Hillard, Laura" userId="fb6b425a-e8d9-473f-bcd9-e45358f5bb1d" providerId="ADAL" clId="{1576AC40-A49B-488C-8A95-8F3276979FA6}" dt="2023-08-22T17:51:16.433" v="1251"/>
        <pc:sldMkLst>
          <pc:docMk/>
          <pc:sldMk cId="402946131" sldId="2147472314"/>
        </pc:sldMkLst>
        <pc:spChg chg="mod">
          <ac:chgData name="Hillard, Laura" userId="fb6b425a-e8d9-473f-bcd9-e45358f5bb1d" providerId="ADAL" clId="{1576AC40-A49B-488C-8A95-8F3276979FA6}" dt="2023-08-22T15:46:16.831" v="886" actId="20577"/>
          <ac:spMkLst>
            <pc:docMk/>
            <pc:sldMk cId="402946131" sldId="2147472314"/>
            <ac:spMk id="24" creationId="{964923DB-2256-419B-A063-3239D1FC888E}"/>
          </ac:spMkLst>
        </pc:spChg>
      </pc:sldChg>
      <pc:sldChg chg="modSp mod delCm">
        <pc:chgData name="Hillard, Laura" userId="fb6b425a-e8d9-473f-bcd9-e45358f5bb1d" providerId="ADAL" clId="{1576AC40-A49B-488C-8A95-8F3276979FA6}" dt="2023-08-22T16:37:04.351" v="1141"/>
        <pc:sldMkLst>
          <pc:docMk/>
          <pc:sldMk cId="816121738" sldId="2147472315"/>
        </pc:sldMkLst>
        <pc:spChg chg="mod">
          <ac:chgData name="Hillard, Laura" userId="fb6b425a-e8d9-473f-bcd9-e45358f5bb1d" providerId="ADAL" clId="{1576AC40-A49B-488C-8A95-8F3276979FA6}" dt="2023-08-22T16:36:55.098" v="1140" actId="20577"/>
          <ac:spMkLst>
            <pc:docMk/>
            <pc:sldMk cId="816121738" sldId="2147472315"/>
            <ac:spMk id="11" creationId="{63756C7A-6F4E-DA1D-CB2C-AF4B0C293591}"/>
          </ac:spMkLst>
        </pc:spChg>
      </pc:sldChg>
      <pc:sldChg chg="modSp mod ord">
        <pc:chgData name="Hillard, Laura" userId="fb6b425a-e8d9-473f-bcd9-e45358f5bb1d" providerId="ADAL" clId="{1576AC40-A49B-488C-8A95-8F3276979FA6}" dt="2023-08-22T16:33:40.752" v="1139"/>
        <pc:sldMkLst>
          <pc:docMk/>
          <pc:sldMk cId="414280482" sldId="2147472316"/>
        </pc:sldMkLst>
        <pc:spChg chg="mod">
          <ac:chgData name="Hillard, Laura" userId="fb6b425a-e8d9-473f-bcd9-e45358f5bb1d" providerId="ADAL" clId="{1576AC40-A49B-488C-8A95-8F3276979FA6}" dt="2023-08-22T15:46:54.214" v="979" actId="20577"/>
          <ac:spMkLst>
            <pc:docMk/>
            <pc:sldMk cId="414280482" sldId="2147472316"/>
            <ac:spMk id="24" creationId="{964923DB-2256-419B-A063-3239D1FC888E}"/>
          </ac:spMkLst>
        </pc:spChg>
        <pc:spChg chg="mod">
          <ac:chgData name="Hillard, Laura" userId="fb6b425a-e8d9-473f-bcd9-e45358f5bb1d" providerId="ADAL" clId="{1576AC40-A49B-488C-8A95-8F3276979FA6}" dt="2023-08-22T00:44:21.124" v="533" actId="1037"/>
          <ac:spMkLst>
            <pc:docMk/>
            <pc:sldMk cId="414280482" sldId="2147472316"/>
            <ac:spMk id="25" creationId="{4A02B834-331E-5EF2-4CC5-6E0D90620543}"/>
          </ac:spMkLst>
        </pc:spChg>
      </pc:sldChg>
      <pc:sldChg chg="modSp mod delCm">
        <pc:chgData name="Hillard, Laura" userId="fb6b425a-e8d9-473f-bcd9-e45358f5bb1d" providerId="ADAL" clId="{1576AC40-A49B-488C-8A95-8F3276979FA6}" dt="2023-08-22T16:32:40.837" v="1137"/>
        <pc:sldMkLst>
          <pc:docMk/>
          <pc:sldMk cId="3435423304" sldId="2147472318"/>
        </pc:sldMkLst>
        <pc:spChg chg="mod">
          <ac:chgData name="Hillard, Laura" userId="fb6b425a-e8d9-473f-bcd9-e45358f5bb1d" providerId="ADAL" clId="{1576AC40-A49B-488C-8A95-8F3276979FA6}" dt="2023-08-22T16:32:18.560" v="1136" actId="20577"/>
          <ac:spMkLst>
            <pc:docMk/>
            <pc:sldMk cId="3435423304" sldId="2147472318"/>
            <ac:spMk id="25" creationId="{4A02B834-331E-5EF2-4CC5-6E0D90620543}"/>
          </ac:spMkLst>
        </pc:spChg>
      </pc:sldChg>
      <pc:sldChg chg="delCm">
        <pc:chgData name="Hillard, Laura" userId="fb6b425a-e8d9-473f-bcd9-e45358f5bb1d" providerId="ADAL" clId="{1576AC40-A49B-488C-8A95-8F3276979FA6}" dt="2023-08-22T17:59:07.886" v="1254"/>
        <pc:sldMkLst>
          <pc:docMk/>
          <pc:sldMk cId="3359826993" sldId="2147472319"/>
        </pc:sldMkLst>
      </pc:sldChg>
      <pc:sldChg chg="modSp mod delCm modCm">
        <pc:chgData name="Hillard, Laura" userId="fb6b425a-e8d9-473f-bcd9-e45358f5bb1d" providerId="ADAL" clId="{1576AC40-A49B-488C-8A95-8F3276979FA6}" dt="2023-08-22T13:36:51.622" v="589"/>
        <pc:sldMkLst>
          <pc:docMk/>
          <pc:sldMk cId="737233286" sldId="2147472320"/>
        </pc:sldMkLst>
        <pc:spChg chg="mod">
          <ac:chgData name="Hillard, Laura" userId="fb6b425a-e8d9-473f-bcd9-e45358f5bb1d" providerId="ADAL" clId="{1576AC40-A49B-488C-8A95-8F3276979FA6}" dt="2023-08-22T00:48:45.081" v="567" actId="20577"/>
          <ac:spMkLst>
            <pc:docMk/>
            <pc:sldMk cId="737233286" sldId="2147472320"/>
            <ac:spMk id="53" creationId="{FA1C4791-9F0C-4204-AE40-854BE98BF79B}"/>
          </ac:spMkLst>
        </pc:spChg>
      </pc:sldChg>
      <pc:sldChg chg="addSp delSp modSp add mod ord addCm delCm modCm">
        <pc:chgData name="Hillard, Laura" userId="fb6b425a-e8d9-473f-bcd9-e45358f5bb1d" providerId="ADAL" clId="{1576AC40-A49B-488C-8A95-8F3276979FA6}" dt="2023-08-22T17:51:13.228" v="1250"/>
        <pc:sldMkLst>
          <pc:docMk/>
          <pc:sldMk cId="1747163129" sldId="2147472321"/>
        </pc:sldMkLst>
        <pc:spChg chg="del">
          <ac:chgData name="Hillard, Laura" userId="fb6b425a-e8d9-473f-bcd9-e45358f5bb1d" providerId="ADAL" clId="{1576AC40-A49B-488C-8A95-8F3276979FA6}" dt="2023-08-22T00:21:31.099" v="1" actId="478"/>
          <ac:spMkLst>
            <pc:docMk/>
            <pc:sldMk cId="1747163129" sldId="2147472321"/>
            <ac:spMk id="3" creationId="{802F4057-D21A-82FD-C579-A946465549FD}"/>
          </ac:spMkLst>
        </pc:spChg>
        <pc:spChg chg="add mod">
          <ac:chgData name="Hillard, Laura" userId="fb6b425a-e8d9-473f-bcd9-e45358f5bb1d" providerId="ADAL" clId="{1576AC40-A49B-488C-8A95-8F3276979FA6}" dt="2023-08-22T15:08:22.794" v="853" actId="14100"/>
          <ac:spMkLst>
            <pc:docMk/>
            <pc:sldMk cId="1747163129" sldId="2147472321"/>
            <ac:spMk id="9" creationId="{ED177950-17D1-17EF-3B9D-6C96A16D5CD9}"/>
          </ac:spMkLst>
        </pc:spChg>
        <pc:spChg chg="mod">
          <ac:chgData name="Hillard, Laura" userId="fb6b425a-e8d9-473f-bcd9-e45358f5bb1d" providerId="ADAL" clId="{1576AC40-A49B-488C-8A95-8F3276979FA6}" dt="2023-08-22T15:46:08.687" v="862" actId="20577"/>
          <ac:spMkLst>
            <pc:docMk/>
            <pc:sldMk cId="1747163129" sldId="2147472321"/>
            <ac:spMk id="24" creationId="{964923DB-2256-419B-A063-3239D1FC888E}"/>
          </ac:spMkLst>
        </pc:spChg>
        <pc:graphicFrameChg chg="add del">
          <ac:chgData name="Hillard, Laura" userId="fb6b425a-e8d9-473f-bcd9-e45358f5bb1d" providerId="ADAL" clId="{1576AC40-A49B-488C-8A95-8F3276979FA6}" dt="2023-08-22T00:28:37.392" v="108" actId="3680"/>
          <ac:graphicFrameMkLst>
            <pc:docMk/>
            <pc:sldMk cId="1747163129" sldId="2147472321"/>
            <ac:graphicFrameMk id="6" creationId="{32DE7AC7-6588-E025-677D-153E03E9F0B7}"/>
          </ac:graphicFrameMkLst>
        </pc:graphicFrameChg>
        <pc:graphicFrameChg chg="add mod modGraphic">
          <ac:chgData name="Hillard, Laura" userId="fb6b425a-e8d9-473f-bcd9-e45358f5bb1d" providerId="ADAL" clId="{1576AC40-A49B-488C-8A95-8F3276979FA6}" dt="2023-08-22T13:51:58.793" v="851" actId="20577"/>
          <ac:graphicFrameMkLst>
            <pc:docMk/>
            <pc:sldMk cId="1747163129" sldId="2147472321"/>
            <ac:graphicFrameMk id="7" creationId="{35343B6B-F316-AF44-15BA-D997EB73C379}"/>
          </ac:graphicFrameMkLst>
        </pc:graphicFrameChg>
        <pc:graphicFrameChg chg="add del mod">
          <ac:chgData name="Hillard, Laura" userId="fb6b425a-e8d9-473f-bcd9-e45358f5bb1d" providerId="ADAL" clId="{1576AC40-A49B-488C-8A95-8F3276979FA6}" dt="2023-08-22T00:32:42.884" v="440"/>
          <ac:graphicFrameMkLst>
            <pc:docMk/>
            <pc:sldMk cId="1747163129" sldId="2147472321"/>
            <ac:graphicFrameMk id="8" creationId="{3B9D1761-98F7-5C39-E85F-5F1FA8F2D273}"/>
          </ac:graphicFrameMkLst>
        </pc:graphicFrameChg>
        <pc:picChg chg="add mod">
          <ac:chgData name="Hillard, Laura" userId="fb6b425a-e8d9-473f-bcd9-e45358f5bb1d" providerId="ADAL" clId="{1576AC40-A49B-488C-8A95-8F3276979FA6}" dt="2023-08-22T13:51:04.633" v="799" actId="1035"/>
          <ac:picMkLst>
            <pc:docMk/>
            <pc:sldMk cId="1747163129" sldId="2147472321"/>
            <ac:picMk id="5" creationId="{A2185EA8-FE18-90CF-100A-40230E9654D8}"/>
          </ac:picMkLst>
        </pc:picChg>
        <pc:picChg chg="del">
          <ac:chgData name="Hillard, Laura" userId="fb6b425a-e8d9-473f-bcd9-e45358f5bb1d" providerId="ADAL" clId="{1576AC40-A49B-488C-8A95-8F3276979FA6}" dt="2023-08-22T00:21:31.099" v="1" actId="478"/>
          <ac:picMkLst>
            <pc:docMk/>
            <pc:sldMk cId="1747163129" sldId="2147472321"/>
            <ac:picMk id="26" creationId="{A2E44B7A-42C4-73C2-7C53-BABF50439C4F}"/>
          </ac:picMkLst>
        </pc:picChg>
      </pc:sldChg>
      <pc:sldChg chg="add del ord">
        <pc:chgData name="Hillard, Laura" userId="fb6b425a-e8d9-473f-bcd9-e45358f5bb1d" providerId="ADAL" clId="{1576AC40-A49B-488C-8A95-8F3276979FA6}" dt="2023-08-22T00:26:25.148" v="62" actId="47"/>
        <pc:sldMkLst>
          <pc:docMk/>
          <pc:sldMk cId="429176848" sldId="2147472322"/>
        </pc:sldMkLst>
      </pc:sldChg>
      <pc:sldChg chg="addSp delSp modSp add mod ord modNotes">
        <pc:chgData name="Hillard, Laura" userId="fb6b425a-e8d9-473f-bcd9-e45358f5bb1d" providerId="ADAL" clId="{1576AC40-A49B-488C-8A95-8F3276979FA6}" dt="2023-08-22T00:24:46.889" v="54"/>
        <pc:sldMkLst>
          <pc:docMk/>
          <pc:sldMk cId="1596833832" sldId="2147472323"/>
        </pc:sldMkLst>
        <pc:picChg chg="add del mod replST">
          <ac:chgData name="Hillard, Laura" userId="fb6b425a-e8d9-473f-bcd9-e45358f5bb1d" providerId="ADAL" clId="{1576AC40-A49B-488C-8A95-8F3276979FA6}" dt="2023-08-22T00:23:12.321" v="26"/>
          <ac:picMkLst>
            <pc:docMk/>
            <pc:sldMk cId="1596833832" sldId="2147472323"/>
            <ac:picMk id="4" creationId="{D6C7D5B7-8065-2078-0C6E-515BAE4185B0}"/>
          </ac:picMkLst>
        </pc:picChg>
        <pc:picChg chg="add del mod ord replST">
          <ac:chgData name="Hillard, Laura" userId="fb6b425a-e8d9-473f-bcd9-e45358f5bb1d" providerId="ADAL" clId="{1576AC40-A49B-488C-8A95-8F3276979FA6}" dt="2023-08-22T00:23:46.842" v="33"/>
          <ac:picMkLst>
            <pc:docMk/>
            <pc:sldMk cId="1596833832" sldId="2147472323"/>
            <ac:picMk id="6" creationId="{32CB9B9B-0DB3-019D-2A0A-BD73B000D42D}"/>
          </ac:picMkLst>
        </pc:picChg>
        <pc:picChg chg="add del mod ord replST">
          <ac:chgData name="Hillard, Laura" userId="fb6b425a-e8d9-473f-bcd9-e45358f5bb1d" providerId="ADAL" clId="{1576AC40-A49B-488C-8A95-8F3276979FA6}" dt="2023-08-22T00:23:58.097" v="40"/>
          <ac:picMkLst>
            <pc:docMk/>
            <pc:sldMk cId="1596833832" sldId="2147472323"/>
            <ac:picMk id="8" creationId="{E84FE9FF-E154-996A-F125-70BAC92D2358}"/>
          </ac:picMkLst>
        </pc:picChg>
        <pc:picChg chg="add del mod ord replST">
          <ac:chgData name="Hillard, Laura" userId="fb6b425a-e8d9-473f-bcd9-e45358f5bb1d" providerId="ADAL" clId="{1576AC40-A49B-488C-8A95-8F3276979FA6}" dt="2023-08-22T00:24:42.978" v="47"/>
          <ac:picMkLst>
            <pc:docMk/>
            <pc:sldMk cId="1596833832" sldId="2147472323"/>
            <ac:picMk id="10" creationId="{094F7324-1C47-0DDB-69A4-55A1147FAFB7}"/>
          </ac:picMkLst>
        </pc:picChg>
        <pc:picChg chg="add mod ord replST">
          <ac:chgData name="Hillard, Laura" userId="fb6b425a-e8d9-473f-bcd9-e45358f5bb1d" providerId="ADAL" clId="{1576AC40-A49B-488C-8A95-8F3276979FA6}" dt="2023-08-22T00:24:43.039" v="52"/>
          <ac:picMkLst>
            <pc:docMk/>
            <pc:sldMk cId="1596833832" sldId="2147472323"/>
            <ac:picMk id="12" creationId="{265C22A1-2AE1-79EA-DA99-777499D9BF19}"/>
          </ac:picMkLst>
        </pc:picChg>
      </pc:sldChg>
      <pc:sldChg chg="addSp delSp modSp add mod modNotes">
        <pc:chgData name="Hillard, Laura" userId="fb6b425a-e8d9-473f-bcd9-e45358f5bb1d" providerId="ADAL" clId="{1576AC40-A49B-488C-8A95-8F3276979FA6}" dt="2023-08-22T00:26:36.167" v="69"/>
        <pc:sldMkLst>
          <pc:docMk/>
          <pc:sldMk cId="232713170" sldId="2147472324"/>
        </pc:sldMkLst>
        <pc:picChg chg="add del mod replST">
          <ac:chgData name="Hillard, Laura" userId="fb6b425a-e8d9-473f-bcd9-e45358f5bb1d" providerId="ADAL" clId="{1576AC40-A49B-488C-8A95-8F3276979FA6}" dt="2023-08-22T00:26:36.103" v="64"/>
          <ac:picMkLst>
            <pc:docMk/>
            <pc:sldMk cId="232713170" sldId="2147472324"/>
            <ac:picMk id="4" creationId="{3FE24B91-1698-7C85-FC47-E83226F42DD1}"/>
          </ac:picMkLst>
        </pc:picChg>
        <pc:picChg chg="add mod ord replST">
          <ac:chgData name="Hillard, Laura" userId="fb6b425a-e8d9-473f-bcd9-e45358f5bb1d" providerId="ADAL" clId="{1576AC40-A49B-488C-8A95-8F3276979FA6}" dt="2023-08-22T00:26:36.167" v="69"/>
          <ac:picMkLst>
            <pc:docMk/>
            <pc:sldMk cId="232713170" sldId="2147472324"/>
            <ac:picMk id="6" creationId="{7169B3B3-5F5A-6FA5-988C-F38353DA8976}"/>
          </ac:picMkLst>
        </pc:picChg>
      </pc:sldChg>
      <pc:sldChg chg="addSp delSp modSp add mod">
        <pc:chgData name="Hillard, Laura" userId="fb6b425a-e8d9-473f-bcd9-e45358f5bb1d" providerId="ADAL" clId="{1576AC40-A49B-488C-8A95-8F3276979FA6}" dt="2023-08-22T20:56:44.368" v="1758" actId="20577"/>
        <pc:sldMkLst>
          <pc:docMk/>
          <pc:sldMk cId="902473844" sldId="2147472325"/>
        </pc:sldMkLst>
        <pc:spChg chg="add mod">
          <ac:chgData name="Hillard, Laura" userId="fb6b425a-e8d9-473f-bcd9-e45358f5bb1d" providerId="ADAL" clId="{1576AC40-A49B-488C-8A95-8F3276979FA6}" dt="2023-08-22T20:56:10.235" v="1754" actId="1036"/>
          <ac:spMkLst>
            <pc:docMk/>
            <pc:sldMk cId="902473844" sldId="2147472325"/>
            <ac:spMk id="2" creationId="{74F5EBFA-CB13-247D-CF77-48BA98A46CDA}"/>
          </ac:spMkLst>
        </pc:spChg>
        <pc:spChg chg="add mod">
          <ac:chgData name="Hillard, Laura" userId="fb6b425a-e8d9-473f-bcd9-e45358f5bb1d" providerId="ADAL" clId="{1576AC40-A49B-488C-8A95-8F3276979FA6}" dt="2023-08-22T20:56:44.368" v="1758" actId="20577"/>
          <ac:spMkLst>
            <pc:docMk/>
            <pc:sldMk cId="902473844" sldId="2147472325"/>
            <ac:spMk id="3" creationId="{B36C7BAA-7507-FAB8-B534-92803A8D6510}"/>
          </ac:spMkLst>
        </pc:spChg>
        <pc:grpChg chg="mod">
          <ac:chgData name="Hillard, Laura" userId="fb6b425a-e8d9-473f-bcd9-e45358f5bb1d" providerId="ADAL" clId="{1576AC40-A49B-488C-8A95-8F3276979FA6}" dt="2023-08-22T20:53:24.506" v="1716" actId="1035"/>
          <ac:grpSpMkLst>
            <pc:docMk/>
            <pc:sldMk cId="902473844" sldId="2147472325"/>
            <ac:grpSpMk id="99" creationId="{C8C7A9A8-9C43-5AB7-4210-20E98AF8DCB4}"/>
          </ac:grpSpMkLst>
        </pc:grpChg>
        <pc:grpChg chg="mod">
          <ac:chgData name="Hillard, Laura" userId="fb6b425a-e8d9-473f-bcd9-e45358f5bb1d" providerId="ADAL" clId="{1576AC40-A49B-488C-8A95-8F3276979FA6}" dt="2023-08-22T20:53:24.506" v="1716" actId="1035"/>
          <ac:grpSpMkLst>
            <pc:docMk/>
            <pc:sldMk cId="902473844" sldId="2147472325"/>
            <ac:grpSpMk id="100" creationId="{C8DEB876-5EE2-E5C5-BC15-9F8156B439AE}"/>
          </ac:grpSpMkLst>
        </pc:grpChg>
        <pc:grpChg chg="mod">
          <ac:chgData name="Hillard, Laura" userId="fb6b425a-e8d9-473f-bcd9-e45358f5bb1d" providerId="ADAL" clId="{1576AC40-A49B-488C-8A95-8F3276979FA6}" dt="2023-08-22T20:53:24.506" v="1716" actId="1035"/>
          <ac:grpSpMkLst>
            <pc:docMk/>
            <pc:sldMk cId="902473844" sldId="2147472325"/>
            <ac:grpSpMk id="101" creationId="{04E738E0-4733-70D4-F6B0-DF9BBD9CE43A}"/>
          </ac:grpSpMkLst>
        </pc:grpChg>
        <pc:grpChg chg="del">
          <ac:chgData name="Hillard, Laura" userId="fb6b425a-e8d9-473f-bcd9-e45358f5bb1d" providerId="ADAL" clId="{1576AC40-A49B-488C-8A95-8F3276979FA6}" dt="2023-08-22T19:55:58.846" v="1316" actId="478"/>
          <ac:grpSpMkLst>
            <pc:docMk/>
            <pc:sldMk cId="902473844" sldId="2147472325"/>
            <ac:grpSpMk id="102" creationId="{E103BE3A-26B7-4F65-7B86-B006B9A26B7D}"/>
          </ac:grpSpMkLst>
        </pc:grpChg>
      </pc:sldChg>
      <pc:sldChg chg="addSp modSp add mod ord">
        <pc:chgData name="Hillard, Laura" userId="fb6b425a-e8d9-473f-bcd9-e45358f5bb1d" providerId="ADAL" clId="{1576AC40-A49B-488C-8A95-8F3276979FA6}" dt="2023-08-22T20:56:42.259" v="1757" actId="20577"/>
        <pc:sldMkLst>
          <pc:docMk/>
          <pc:sldMk cId="2194583067" sldId="2147472326"/>
        </pc:sldMkLst>
        <pc:spChg chg="add mod">
          <ac:chgData name="Hillard, Laura" userId="fb6b425a-e8d9-473f-bcd9-e45358f5bb1d" providerId="ADAL" clId="{1576AC40-A49B-488C-8A95-8F3276979FA6}" dt="2023-08-22T20:56:42.259" v="1757" actId="20577"/>
          <ac:spMkLst>
            <pc:docMk/>
            <pc:sldMk cId="2194583067" sldId="2147472326"/>
            <ac:spMk id="2" creationId="{930E3FE8-4453-7356-04E0-F5F9B0CB7631}"/>
          </ac:spMkLst>
        </pc:spChg>
        <pc:spChg chg="mod">
          <ac:chgData name="Hillard, Laura" userId="fb6b425a-e8d9-473f-bcd9-e45358f5bb1d" providerId="ADAL" clId="{1576AC40-A49B-488C-8A95-8F3276979FA6}" dt="2023-08-22T20:41:31.583" v="1535" actId="20577"/>
          <ac:spMkLst>
            <pc:docMk/>
            <pc:sldMk cId="2194583067" sldId="2147472326"/>
            <ac:spMk id="53" creationId="{FA1C4791-9F0C-4204-AE40-854BE98BF79B}"/>
          </ac:spMkLst>
        </pc:spChg>
        <pc:spChg chg="mod">
          <ac:chgData name="Hillard, Laura" userId="fb6b425a-e8d9-473f-bcd9-e45358f5bb1d" providerId="ADAL" clId="{1576AC40-A49B-488C-8A95-8F3276979FA6}" dt="2023-08-22T20:41:07.521" v="1494" actId="20577"/>
          <ac:spMkLst>
            <pc:docMk/>
            <pc:sldMk cId="2194583067" sldId="2147472326"/>
            <ac:spMk id="83" creationId="{F5A343A5-F795-F0FF-F006-5DD700017695}"/>
          </ac:spMkLst>
        </pc:spChg>
      </pc:sldChg>
      <pc:sldMasterChg chg="del delSldLayout">
        <pc:chgData name="Hillard, Laura" userId="fb6b425a-e8d9-473f-bcd9-e45358f5bb1d" providerId="ADAL" clId="{1576AC40-A49B-488C-8A95-8F3276979FA6}" dt="2023-08-22T18:03:12.059" v="1257" actId="47"/>
        <pc:sldMasterMkLst>
          <pc:docMk/>
          <pc:sldMasterMk cId="3540401192" sldId="2147484801"/>
        </pc:sldMasterMkLst>
        <pc:sldLayoutChg chg="del">
          <pc:chgData name="Hillard, Laura" userId="fb6b425a-e8d9-473f-bcd9-e45358f5bb1d" providerId="ADAL" clId="{1576AC40-A49B-488C-8A95-8F3276979FA6}" dt="2023-08-22T18:03:12.059" v="1257" actId="47"/>
          <pc:sldLayoutMkLst>
            <pc:docMk/>
            <pc:sldMasterMk cId="3540401192" sldId="2147484801"/>
            <pc:sldLayoutMk cId="2947096388" sldId="2147484802"/>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932616098" sldId="2147484803"/>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592079233" sldId="2147484804"/>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104958979" sldId="2147484805"/>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654682983" sldId="2147484806"/>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331419749" sldId="2147484807"/>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823671643" sldId="2147484808"/>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698984196" sldId="2147484809"/>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413122873" sldId="2147484810"/>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572226805" sldId="2147484811"/>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174000074" sldId="2147484812"/>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660790583" sldId="2147484813"/>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018940054" sldId="2147484814"/>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408075371" sldId="2147484815"/>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589687282" sldId="2147484816"/>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367799298" sldId="2147484817"/>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202344957" sldId="2147484818"/>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102227872" sldId="2147484819"/>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984255905" sldId="2147484820"/>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835500945" sldId="2147484821"/>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4181903421" sldId="2147484822"/>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505157696" sldId="2147484823"/>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388334971" sldId="2147484824"/>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948965905" sldId="2147484825"/>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693192461" sldId="2147484826"/>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353559021" sldId="2147484827"/>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812044369" sldId="2147484828"/>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534567034" sldId="2147484829"/>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4274586367" sldId="2147484830"/>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708504230" sldId="2147484831"/>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19072954" sldId="2147484832"/>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27147291" sldId="2147484833"/>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402015838" sldId="2147484834"/>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097002461" sldId="2147484835"/>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932964385" sldId="2147484836"/>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712531311" sldId="2147484837"/>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256726603" sldId="2147484838"/>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2099774807" sldId="2147484839"/>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1279064733" sldId="2147484840"/>
          </pc:sldLayoutMkLst>
        </pc:sldLayoutChg>
        <pc:sldLayoutChg chg="del">
          <pc:chgData name="Hillard, Laura" userId="fb6b425a-e8d9-473f-bcd9-e45358f5bb1d" providerId="ADAL" clId="{1576AC40-A49B-488C-8A95-8F3276979FA6}" dt="2023-08-22T18:03:12.059" v="1257" actId="47"/>
          <pc:sldLayoutMkLst>
            <pc:docMk/>
            <pc:sldMasterMk cId="3540401192" sldId="2147484801"/>
            <pc:sldLayoutMk cId="3767747346" sldId="2147484841"/>
          </pc:sldLayoutMkLst>
        </pc:sldLayoutChg>
      </pc:sldMasterChg>
    </pc:docChg>
  </pc:docChgLst>
  <pc:docChgLst>
    <pc:chgData name="Hillard, Laura" userId="fb6b425a-e8d9-473f-bcd9-e45358f5bb1d" providerId="ADAL" clId="{D3A1C6C3-602D-4DD0-A0EA-54AD05E80041}"/>
    <pc:docChg chg="undo redo custSel addSld delSld modSld sldOrd modSection">
      <pc:chgData name="Hillard, Laura" userId="fb6b425a-e8d9-473f-bcd9-e45358f5bb1d" providerId="ADAL" clId="{D3A1C6C3-602D-4DD0-A0EA-54AD05E80041}" dt="2023-08-21T18:36:47.062" v="2991" actId="20577"/>
      <pc:docMkLst>
        <pc:docMk/>
      </pc:docMkLst>
      <pc:sldChg chg="modSp mod addCm">
        <pc:chgData name="Hillard, Laura" userId="fb6b425a-e8d9-473f-bcd9-e45358f5bb1d" providerId="ADAL" clId="{D3A1C6C3-602D-4DD0-A0EA-54AD05E80041}" dt="2023-08-21T18:27:25.455" v="2812"/>
        <pc:sldMkLst>
          <pc:docMk/>
          <pc:sldMk cId="2360244395" sldId="2147309686"/>
        </pc:sldMkLst>
        <pc:grpChg chg="mod">
          <ac:chgData name="Hillard, Laura" userId="fb6b425a-e8d9-473f-bcd9-e45358f5bb1d" providerId="ADAL" clId="{D3A1C6C3-602D-4DD0-A0EA-54AD05E80041}" dt="2023-08-21T18:27:10.791" v="2811" actId="1035"/>
          <ac:grpSpMkLst>
            <pc:docMk/>
            <pc:sldMk cId="2360244395" sldId="2147309686"/>
            <ac:grpSpMk id="4" creationId="{D219FD86-B6F3-4E85-AAFB-5FFA3FEF47DD}"/>
          </ac:grpSpMkLst>
        </pc:grpChg>
        <pc:grpChg chg="mod">
          <ac:chgData name="Hillard, Laura" userId="fb6b425a-e8d9-473f-bcd9-e45358f5bb1d" providerId="ADAL" clId="{D3A1C6C3-602D-4DD0-A0EA-54AD05E80041}" dt="2023-08-21T18:27:10.791" v="2811" actId="1035"/>
          <ac:grpSpMkLst>
            <pc:docMk/>
            <pc:sldMk cId="2360244395" sldId="2147309686"/>
            <ac:grpSpMk id="8" creationId="{3748B3AE-EFFF-496B-ACE0-D4571BEB8BE9}"/>
          </ac:grpSpMkLst>
        </pc:grpChg>
        <pc:grpChg chg="mod">
          <ac:chgData name="Hillard, Laura" userId="fb6b425a-e8d9-473f-bcd9-e45358f5bb1d" providerId="ADAL" clId="{D3A1C6C3-602D-4DD0-A0EA-54AD05E80041}" dt="2023-08-21T18:27:10.791" v="2811" actId="1035"/>
          <ac:grpSpMkLst>
            <pc:docMk/>
            <pc:sldMk cId="2360244395" sldId="2147309686"/>
            <ac:grpSpMk id="20" creationId="{97818ED5-671A-41B6-8FED-35CC51D78E82}"/>
          </ac:grpSpMkLst>
        </pc:grpChg>
      </pc:sldChg>
      <pc:sldChg chg="addSp modSp mod modAnim">
        <pc:chgData name="Hillard, Laura" userId="fb6b425a-e8d9-473f-bcd9-e45358f5bb1d" providerId="ADAL" clId="{D3A1C6C3-602D-4DD0-A0EA-54AD05E80041}" dt="2023-08-21T18:31:24.333" v="2957"/>
        <pc:sldMkLst>
          <pc:docMk/>
          <pc:sldMk cId="103226455" sldId="2147472280"/>
        </pc:sldMkLst>
        <pc:spChg chg="mod">
          <ac:chgData name="Hillard, Laura" userId="fb6b425a-e8d9-473f-bcd9-e45358f5bb1d" providerId="ADAL" clId="{D3A1C6C3-602D-4DD0-A0EA-54AD05E80041}" dt="2023-08-21T18:31:14.095" v="2956" actId="1037"/>
          <ac:spMkLst>
            <pc:docMk/>
            <pc:sldMk cId="103226455" sldId="2147472280"/>
            <ac:spMk id="2" creationId="{94DDEAA1-BF9A-5DB1-591D-4E05BCDF18EA}"/>
          </ac:spMkLst>
        </pc:spChg>
        <pc:spChg chg="add mod">
          <ac:chgData name="Hillard, Laura" userId="fb6b425a-e8d9-473f-bcd9-e45358f5bb1d" providerId="ADAL" clId="{D3A1C6C3-602D-4DD0-A0EA-54AD05E80041}" dt="2023-08-21T18:30:48.795" v="2948" actId="1076"/>
          <ac:spMkLst>
            <pc:docMk/>
            <pc:sldMk cId="103226455" sldId="2147472280"/>
            <ac:spMk id="3" creationId="{0D1F9FD1-41FC-89A5-F280-464657A05193}"/>
          </ac:spMkLst>
        </pc:spChg>
        <pc:spChg chg="mod">
          <ac:chgData name="Hillard, Laura" userId="fb6b425a-e8d9-473f-bcd9-e45358f5bb1d" providerId="ADAL" clId="{D3A1C6C3-602D-4DD0-A0EA-54AD05E80041}" dt="2023-08-21T18:31:14.095" v="2956" actId="1037"/>
          <ac:spMkLst>
            <pc:docMk/>
            <pc:sldMk cId="103226455" sldId="2147472280"/>
            <ac:spMk id="21" creationId="{1FA11ACC-ECD4-CD65-D78D-BCE26B30B602}"/>
          </ac:spMkLst>
        </pc:spChg>
        <pc:spChg chg="mod">
          <ac:chgData name="Hillard, Laura" userId="fb6b425a-e8d9-473f-bcd9-e45358f5bb1d" providerId="ADAL" clId="{D3A1C6C3-602D-4DD0-A0EA-54AD05E80041}" dt="2023-08-21T18:28:26.976" v="2868" actId="20577"/>
          <ac:spMkLst>
            <pc:docMk/>
            <pc:sldMk cId="103226455" sldId="2147472280"/>
            <ac:spMk id="23" creationId="{C42EA377-38CC-4978-BCA6-28AE188B6A07}"/>
          </ac:spMkLst>
        </pc:spChg>
        <pc:spChg chg="mod">
          <ac:chgData name="Hillard, Laura" userId="fb6b425a-e8d9-473f-bcd9-e45358f5bb1d" providerId="ADAL" clId="{D3A1C6C3-602D-4DD0-A0EA-54AD05E80041}" dt="2023-08-21T18:31:14.095" v="2956" actId="1037"/>
          <ac:spMkLst>
            <pc:docMk/>
            <pc:sldMk cId="103226455" sldId="2147472280"/>
            <ac:spMk id="55" creationId="{34B673A0-382A-B337-3560-2329F60E3321}"/>
          </ac:spMkLst>
        </pc:spChg>
        <pc:spChg chg="mod">
          <ac:chgData name="Hillard, Laura" userId="fb6b425a-e8d9-473f-bcd9-e45358f5bb1d" providerId="ADAL" clId="{D3A1C6C3-602D-4DD0-A0EA-54AD05E80041}" dt="2023-08-21T18:29:31.333" v="2921" actId="164"/>
          <ac:spMkLst>
            <pc:docMk/>
            <pc:sldMk cId="103226455" sldId="2147472280"/>
            <ac:spMk id="65" creationId="{992A6746-A691-44BA-E4A4-072715163FE8}"/>
          </ac:spMkLst>
        </pc:spChg>
        <pc:spChg chg="mod">
          <ac:chgData name="Hillard, Laura" userId="fb6b425a-e8d9-473f-bcd9-e45358f5bb1d" providerId="ADAL" clId="{D3A1C6C3-602D-4DD0-A0EA-54AD05E80041}" dt="2023-08-21T18:29:31.333" v="2921" actId="164"/>
          <ac:spMkLst>
            <pc:docMk/>
            <pc:sldMk cId="103226455" sldId="2147472280"/>
            <ac:spMk id="66" creationId="{EABE5151-B125-4871-172E-63F111704197}"/>
          </ac:spMkLst>
        </pc:spChg>
        <pc:spChg chg="mod">
          <ac:chgData name="Hillard, Laura" userId="fb6b425a-e8d9-473f-bcd9-e45358f5bb1d" providerId="ADAL" clId="{D3A1C6C3-602D-4DD0-A0EA-54AD05E80041}" dt="2023-08-21T18:29:31.333" v="2921" actId="164"/>
          <ac:spMkLst>
            <pc:docMk/>
            <pc:sldMk cId="103226455" sldId="2147472280"/>
            <ac:spMk id="67" creationId="{9DB9DF2D-DAC6-DD72-69AA-488DDB97B7B5}"/>
          </ac:spMkLst>
        </pc:spChg>
        <pc:grpChg chg="add mod">
          <ac:chgData name="Hillard, Laura" userId="fb6b425a-e8d9-473f-bcd9-e45358f5bb1d" providerId="ADAL" clId="{D3A1C6C3-602D-4DD0-A0EA-54AD05E80041}" dt="2023-08-21T18:29:31.333" v="2921" actId="164"/>
          <ac:grpSpMkLst>
            <pc:docMk/>
            <pc:sldMk cId="103226455" sldId="2147472280"/>
            <ac:grpSpMk id="5" creationId="{A865CDE7-3B17-18B7-2647-BAB4231B92E6}"/>
          </ac:grpSpMkLst>
        </pc:grpChg>
        <pc:grpChg chg="mod">
          <ac:chgData name="Hillard, Laura" userId="fb6b425a-e8d9-473f-bcd9-e45358f5bb1d" providerId="ADAL" clId="{D3A1C6C3-602D-4DD0-A0EA-54AD05E80041}" dt="2023-08-21T18:29:21.569" v="2919" actId="1037"/>
          <ac:grpSpMkLst>
            <pc:docMk/>
            <pc:sldMk cId="103226455" sldId="2147472280"/>
            <ac:grpSpMk id="9" creationId="{9AA70B74-72B3-303C-DBA5-1F1332058DC2}"/>
          </ac:grpSpMkLst>
        </pc:grpChg>
        <pc:grpChg chg="mod">
          <ac:chgData name="Hillard, Laura" userId="fb6b425a-e8d9-473f-bcd9-e45358f5bb1d" providerId="ADAL" clId="{D3A1C6C3-602D-4DD0-A0EA-54AD05E80041}" dt="2023-08-21T18:29:21.569" v="2919" actId="1037"/>
          <ac:grpSpMkLst>
            <pc:docMk/>
            <pc:sldMk cId="103226455" sldId="2147472280"/>
            <ac:grpSpMk id="10" creationId="{F8EB5694-75E9-E541-991D-7EA3B123D64C}"/>
          </ac:grpSpMkLst>
        </pc:grpChg>
        <pc:grpChg chg="mod">
          <ac:chgData name="Hillard, Laura" userId="fb6b425a-e8d9-473f-bcd9-e45358f5bb1d" providerId="ADAL" clId="{D3A1C6C3-602D-4DD0-A0EA-54AD05E80041}" dt="2023-08-21T18:30:48.795" v="2948" actId="1076"/>
          <ac:grpSpMkLst>
            <pc:docMk/>
            <pc:sldMk cId="103226455" sldId="2147472280"/>
            <ac:grpSpMk id="11" creationId="{36BCCA02-871C-A6FD-084A-4F1A51581466}"/>
          </ac:grpSpMkLst>
        </pc:grpChg>
      </pc:sldChg>
      <pc:sldChg chg="modSp mod delCm">
        <pc:chgData name="Hillard, Laura" userId="fb6b425a-e8d9-473f-bcd9-e45358f5bb1d" providerId="ADAL" clId="{D3A1C6C3-602D-4DD0-A0EA-54AD05E80041}" dt="2023-08-21T18:06:21.129" v="1649" actId="13926"/>
        <pc:sldMkLst>
          <pc:docMk/>
          <pc:sldMk cId="1832112976" sldId="2147472283"/>
        </pc:sldMkLst>
        <pc:spChg chg="mod">
          <ac:chgData name="Hillard, Laura" userId="fb6b425a-e8d9-473f-bcd9-e45358f5bb1d" providerId="ADAL" clId="{D3A1C6C3-602D-4DD0-A0EA-54AD05E80041}" dt="2023-08-21T18:04:47.200" v="1479" actId="113"/>
          <ac:spMkLst>
            <pc:docMk/>
            <pc:sldMk cId="1832112976" sldId="2147472283"/>
            <ac:spMk id="15" creationId="{700DB4B1-CFFF-2F7D-64D6-F08EB1A7815B}"/>
          </ac:spMkLst>
        </pc:spChg>
        <pc:spChg chg="mod">
          <ac:chgData name="Hillard, Laura" userId="fb6b425a-e8d9-473f-bcd9-e45358f5bb1d" providerId="ADAL" clId="{D3A1C6C3-602D-4DD0-A0EA-54AD05E80041}" dt="2023-08-21T18:06:21.129" v="1649" actId="13926"/>
          <ac:spMkLst>
            <pc:docMk/>
            <pc:sldMk cId="1832112976" sldId="2147472283"/>
            <ac:spMk id="53" creationId="{FA1C4791-9F0C-4204-AE40-854BE98BF79B}"/>
          </ac:spMkLst>
        </pc:spChg>
        <pc:spChg chg="mod">
          <ac:chgData name="Hillard, Laura" userId="fb6b425a-e8d9-473f-bcd9-e45358f5bb1d" providerId="ADAL" clId="{D3A1C6C3-602D-4DD0-A0EA-54AD05E80041}" dt="2023-08-21T18:05:19.435" v="1490" actId="20577"/>
          <ac:spMkLst>
            <pc:docMk/>
            <pc:sldMk cId="1832112976" sldId="2147472283"/>
            <ac:spMk id="84" creationId="{A9835EEB-A457-7B6C-5AAD-C6D580801759}"/>
          </ac:spMkLst>
        </pc:spChg>
      </pc:sldChg>
      <pc:sldChg chg="addSp delSp modSp mod">
        <pc:chgData name="Hillard, Laura" userId="fb6b425a-e8d9-473f-bcd9-e45358f5bb1d" providerId="ADAL" clId="{D3A1C6C3-602D-4DD0-A0EA-54AD05E80041}" dt="2023-08-21T16:33:01.259" v="105" actId="20577"/>
        <pc:sldMkLst>
          <pc:docMk/>
          <pc:sldMk cId="1044946537" sldId="2147472287"/>
        </pc:sldMkLst>
        <pc:spChg chg="add mod">
          <ac:chgData name="Hillard, Laura" userId="fb6b425a-e8d9-473f-bcd9-e45358f5bb1d" providerId="ADAL" clId="{D3A1C6C3-602D-4DD0-A0EA-54AD05E80041}" dt="2023-08-21T16:33:01.259" v="105" actId="20577"/>
          <ac:spMkLst>
            <pc:docMk/>
            <pc:sldMk cId="1044946537" sldId="2147472287"/>
            <ac:spMk id="3" creationId="{E0EFA907-036A-8DA6-942A-08707E1C2E8E}"/>
          </ac:spMkLst>
        </pc:spChg>
        <pc:spChg chg="mod">
          <ac:chgData name="Hillard, Laura" userId="fb6b425a-e8d9-473f-bcd9-e45358f5bb1d" providerId="ADAL" clId="{D3A1C6C3-602D-4DD0-A0EA-54AD05E80041}" dt="2023-08-21T16:31:32.788" v="90" actId="20577"/>
          <ac:spMkLst>
            <pc:docMk/>
            <pc:sldMk cId="1044946537" sldId="2147472287"/>
            <ac:spMk id="24" creationId="{964923DB-2256-419B-A063-3239D1FC888E}"/>
          </ac:spMkLst>
        </pc:spChg>
        <pc:spChg chg="del">
          <ac:chgData name="Hillard, Laura" userId="fb6b425a-e8d9-473f-bcd9-e45358f5bb1d" providerId="ADAL" clId="{D3A1C6C3-602D-4DD0-A0EA-54AD05E80041}" dt="2023-08-21T16:31:28.563" v="87" actId="478"/>
          <ac:spMkLst>
            <pc:docMk/>
            <pc:sldMk cId="1044946537" sldId="2147472287"/>
            <ac:spMk id="25" creationId="{4A02B834-331E-5EF2-4CC5-6E0D90620543}"/>
          </ac:spMkLst>
        </pc:spChg>
      </pc:sldChg>
      <pc:sldChg chg="ord">
        <pc:chgData name="Hillard, Laura" userId="fb6b425a-e8d9-473f-bcd9-e45358f5bb1d" providerId="ADAL" clId="{D3A1C6C3-602D-4DD0-A0EA-54AD05E80041}" dt="2023-08-21T16:44:18.517" v="218"/>
        <pc:sldMkLst>
          <pc:docMk/>
          <pc:sldMk cId="2459806374" sldId="2147472306"/>
        </pc:sldMkLst>
      </pc:sldChg>
      <pc:sldChg chg="modSp mod ord addCm">
        <pc:chgData name="Hillard, Laura" userId="fb6b425a-e8d9-473f-bcd9-e45358f5bb1d" providerId="ADAL" clId="{D3A1C6C3-602D-4DD0-A0EA-54AD05E80041}" dt="2023-08-21T18:34:10.070" v="2983" actId="20577"/>
        <pc:sldMkLst>
          <pc:docMk/>
          <pc:sldMk cId="81513845" sldId="2147472307"/>
        </pc:sldMkLst>
        <pc:spChg chg="mod">
          <ac:chgData name="Hillard, Laura" userId="fb6b425a-e8d9-473f-bcd9-e45358f5bb1d" providerId="ADAL" clId="{D3A1C6C3-602D-4DD0-A0EA-54AD05E80041}" dt="2023-08-21T18:34:04.006" v="2958" actId="20577"/>
          <ac:spMkLst>
            <pc:docMk/>
            <pc:sldMk cId="81513845" sldId="2147472307"/>
            <ac:spMk id="4" creationId="{5384E798-BCAF-A2BB-C43D-0CA5F9E634E0}"/>
          </ac:spMkLst>
        </pc:spChg>
        <pc:spChg chg="mod">
          <ac:chgData name="Hillard, Laura" userId="fb6b425a-e8d9-473f-bcd9-e45358f5bb1d" providerId="ADAL" clId="{D3A1C6C3-602D-4DD0-A0EA-54AD05E80041}" dt="2023-08-21T18:34:10.070" v="2983" actId="20577"/>
          <ac:spMkLst>
            <pc:docMk/>
            <pc:sldMk cId="81513845" sldId="2147472307"/>
            <ac:spMk id="24" creationId="{964923DB-2256-419B-A063-3239D1FC888E}"/>
          </ac:spMkLst>
        </pc:spChg>
        <pc:picChg chg="mod">
          <ac:chgData name="Hillard, Laura" userId="fb6b425a-e8d9-473f-bcd9-e45358f5bb1d" providerId="ADAL" clId="{D3A1C6C3-602D-4DD0-A0EA-54AD05E80041}" dt="2023-08-21T18:01:23.396" v="1394" actId="14826"/>
          <ac:picMkLst>
            <pc:docMk/>
            <pc:sldMk cId="81513845" sldId="2147472307"/>
            <ac:picMk id="5" creationId="{F8844B0A-BCE1-850C-6412-3D1A8AEB0660}"/>
          </ac:picMkLst>
        </pc:picChg>
      </pc:sldChg>
      <pc:sldChg chg="addSp modSp mod">
        <pc:chgData name="Hillard, Laura" userId="fb6b425a-e8d9-473f-bcd9-e45358f5bb1d" providerId="ADAL" clId="{D3A1C6C3-602D-4DD0-A0EA-54AD05E80041}" dt="2023-08-21T18:36:47.062" v="2991" actId="20577"/>
        <pc:sldMkLst>
          <pc:docMk/>
          <pc:sldMk cId="4086239096" sldId="2147472309"/>
        </pc:sldMkLst>
        <pc:spChg chg="add mod">
          <ac:chgData name="Hillard, Laura" userId="fb6b425a-e8d9-473f-bcd9-e45358f5bb1d" providerId="ADAL" clId="{D3A1C6C3-602D-4DD0-A0EA-54AD05E80041}" dt="2023-08-21T17:50:29.060" v="980" actId="13926"/>
          <ac:spMkLst>
            <pc:docMk/>
            <pc:sldMk cId="4086239096" sldId="2147472309"/>
            <ac:spMk id="3" creationId="{D72B822A-DDB3-3BFD-5212-4E5F85563A16}"/>
          </ac:spMkLst>
        </pc:spChg>
        <pc:spChg chg="add mod ord">
          <ac:chgData name="Hillard, Laura" userId="fb6b425a-e8d9-473f-bcd9-e45358f5bb1d" providerId="ADAL" clId="{D3A1C6C3-602D-4DD0-A0EA-54AD05E80041}" dt="2023-08-21T17:56:22.911" v="1261" actId="164"/>
          <ac:spMkLst>
            <pc:docMk/>
            <pc:sldMk cId="4086239096" sldId="2147472309"/>
            <ac:spMk id="5" creationId="{5971DA54-C401-BD2C-C10E-24111214327E}"/>
          </ac:spMkLst>
        </pc:spChg>
        <pc:spChg chg="mod">
          <ac:chgData name="Hillard, Laura" userId="fb6b425a-e8d9-473f-bcd9-e45358f5bb1d" providerId="ADAL" clId="{D3A1C6C3-602D-4DD0-A0EA-54AD05E80041}" dt="2023-08-21T17:38:57.714" v="779"/>
          <ac:spMkLst>
            <pc:docMk/>
            <pc:sldMk cId="4086239096" sldId="2147472309"/>
            <ac:spMk id="24" creationId="{964923DB-2256-419B-A063-3239D1FC888E}"/>
          </ac:spMkLst>
        </pc:spChg>
        <pc:spChg chg="mod">
          <ac:chgData name="Hillard, Laura" userId="fb6b425a-e8d9-473f-bcd9-e45358f5bb1d" providerId="ADAL" clId="{D3A1C6C3-602D-4DD0-A0EA-54AD05E80041}" dt="2023-08-21T18:36:47.062" v="2991" actId="20577"/>
          <ac:spMkLst>
            <pc:docMk/>
            <pc:sldMk cId="4086239096" sldId="2147472309"/>
            <ac:spMk id="25" creationId="{4A02B834-331E-5EF2-4CC5-6E0D90620543}"/>
          </ac:spMkLst>
        </pc:spChg>
        <pc:grpChg chg="add mod">
          <ac:chgData name="Hillard, Laura" userId="fb6b425a-e8d9-473f-bcd9-e45358f5bb1d" providerId="ADAL" clId="{D3A1C6C3-602D-4DD0-A0EA-54AD05E80041}" dt="2023-08-21T17:58:06.195" v="1307" actId="1038"/>
          <ac:grpSpMkLst>
            <pc:docMk/>
            <pc:sldMk cId="4086239096" sldId="2147472309"/>
            <ac:grpSpMk id="6" creationId="{7195A4FB-8A4B-7026-0958-162153E0A53F}"/>
          </ac:grpSpMkLst>
        </pc:grpChg>
        <pc:picChg chg="mod modCrop">
          <ac:chgData name="Hillard, Laura" userId="fb6b425a-e8d9-473f-bcd9-e45358f5bb1d" providerId="ADAL" clId="{D3A1C6C3-602D-4DD0-A0EA-54AD05E80041}" dt="2023-08-21T17:56:22.911" v="1261" actId="164"/>
          <ac:picMkLst>
            <pc:docMk/>
            <pc:sldMk cId="4086239096" sldId="2147472309"/>
            <ac:picMk id="4" creationId="{9C0ABEDE-0774-4589-C8D5-1A40B0CA3CF1}"/>
          </ac:picMkLst>
        </pc:picChg>
      </pc:sldChg>
      <pc:sldChg chg="addSp delSp modSp mod addCm">
        <pc:chgData name="Hillard, Laura" userId="fb6b425a-e8d9-473f-bcd9-e45358f5bb1d" providerId="ADAL" clId="{D3A1C6C3-602D-4DD0-A0EA-54AD05E80041}" dt="2023-08-21T16:45:02.545" v="219"/>
        <pc:sldMkLst>
          <pc:docMk/>
          <pc:sldMk cId="113113539" sldId="2147472313"/>
        </pc:sldMkLst>
        <pc:spChg chg="add mod">
          <ac:chgData name="Hillard, Laura" userId="fb6b425a-e8d9-473f-bcd9-e45358f5bb1d" providerId="ADAL" clId="{D3A1C6C3-602D-4DD0-A0EA-54AD05E80041}" dt="2023-08-21T16:44:10.492" v="216" actId="20577"/>
          <ac:spMkLst>
            <pc:docMk/>
            <pc:sldMk cId="113113539" sldId="2147472313"/>
            <ac:spMk id="3" creationId="{5499176A-FCE7-3906-CE04-E2AD0E9EB186}"/>
          </ac:spMkLst>
        </pc:spChg>
        <pc:spChg chg="del">
          <ac:chgData name="Hillard, Laura" userId="fb6b425a-e8d9-473f-bcd9-e45358f5bb1d" providerId="ADAL" clId="{D3A1C6C3-602D-4DD0-A0EA-54AD05E80041}" dt="2023-08-21T16:42:00.034" v="176" actId="478"/>
          <ac:spMkLst>
            <pc:docMk/>
            <pc:sldMk cId="113113539" sldId="2147472313"/>
            <ac:spMk id="25" creationId="{4A02B834-331E-5EF2-4CC5-6E0D90620543}"/>
          </ac:spMkLst>
        </pc:spChg>
      </pc:sldChg>
      <pc:sldChg chg="addSp delSp modSp mod addCm">
        <pc:chgData name="Hillard, Laura" userId="fb6b425a-e8d9-473f-bcd9-e45358f5bb1d" providerId="ADAL" clId="{D3A1C6C3-602D-4DD0-A0EA-54AD05E80041}" dt="2023-08-21T16:41:33.979" v="175"/>
        <pc:sldMkLst>
          <pc:docMk/>
          <pc:sldMk cId="402946131" sldId="2147472314"/>
        </pc:sldMkLst>
        <pc:spChg chg="add mod">
          <ac:chgData name="Hillard, Laura" userId="fb6b425a-e8d9-473f-bcd9-e45358f5bb1d" providerId="ADAL" clId="{D3A1C6C3-602D-4DD0-A0EA-54AD05E80041}" dt="2023-08-21T16:40:36.412" v="174" actId="20577"/>
          <ac:spMkLst>
            <pc:docMk/>
            <pc:sldMk cId="402946131" sldId="2147472314"/>
            <ac:spMk id="3" creationId="{802F4057-D21A-82FD-C579-A946465549FD}"/>
          </ac:spMkLst>
        </pc:spChg>
        <pc:spChg chg="add del mod">
          <ac:chgData name="Hillard, Laura" userId="fb6b425a-e8d9-473f-bcd9-e45358f5bb1d" providerId="ADAL" clId="{D3A1C6C3-602D-4DD0-A0EA-54AD05E80041}" dt="2023-08-21T16:40:08.620" v="140"/>
          <ac:spMkLst>
            <pc:docMk/>
            <pc:sldMk cId="402946131" sldId="2147472314"/>
            <ac:spMk id="4" creationId="{7452E856-5942-93A1-A9B2-0CDB6DC0CA2D}"/>
          </ac:spMkLst>
        </pc:spChg>
        <pc:spChg chg="del mod">
          <ac:chgData name="Hillard, Laura" userId="fb6b425a-e8d9-473f-bcd9-e45358f5bb1d" providerId="ADAL" clId="{D3A1C6C3-602D-4DD0-A0EA-54AD05E80041}" dt="2023-08-21T16:33:42.520" v="107" actId="478"/>
          <ac:spMkLst>
            <pc:docMk/>
            <pc:sldMk cId="402946131" sldId="2147472314"/>
            <ac:spMk id="25" creationId="{4A02B834-331E-5EF2-4CC5-6E0D90620543}"/>
          </ac:spMkLst>
        </pc:spChg>
      </pc:sldChg>
      <pc:sldChg chg="addSp modSp mod">
        <pc:chgData name="Hillard, Laura" userId="fb6b425a-e8d9-473f-bcd9-e45358f5bb1d" providerId="ADAL" clId="{D3A1C6C3-602D-4DD0-A0EA-54AD05E80041}" dt="2023-08-21T17:38:43.706" v="776" actId="13926"/>
        <pc:sldMkLst>
          <pc:docMk/>
          <pc:sldMk cId="816121738" sldId="2147472315"/>
        </pc:sldMkLst>
        <pc:spChg chg="add mod">
          <ac:chgData name="Hillard, Laura" userId="fb6b425a-e8d9-473f-bcd9-e45358f5bb1d" providerId="ADAL" clId="{D3A1C6C3-602D-4DD0-A0EA-54AD05E80041}" dt="2023-08-21T17:38:43.706" v="776" actId="13926"/>
          <ac:spMkLst>
            <pc:docMk/>
            <pc:sldMk cId="816121738" sldId="2147472315"/>
            <ac:spMk id="25" creationId="{9CB48B44-D747-7309-C812-D9CE2A7BDC28}"/>
          </ac:spMkLst>
        </pc:spChg>
      </pc:sldChg>
      <pc:sldChg chg="modSp mod ord">
        <pc:chgData name="Hillard, Laura" userId="fb6b425a-e8d9-473f-bcd9-e45358f5bb1d" providerId="ADAL" clId="{D3A1C6C3-602D-4DD0-A0EA-54AD05E80041}" dt="2023-08-21T18:35:38.871" v="2989" actId="20577"/>
        <pc:sldMkLst>
          <pc:docMk/>
          <pc:sldMk cId="414280482" sldId="2147472316"/>
        </pc:sldMkLst>
        <pc:spChg chg="mod">
          <ac:chgData name="Hillard, Laura" userId="fb6b425a-e8d9-473f-bcd9-e45358f5bb1d" providerId="ADAL" clId="{D3A1C6C3-602D-4DD0-A0EA-54AD05E80041}" dt="2023-08-21T18:35:38.871" v="2989" actId="20577"/>
          <ac:spMkLst>
            <pc:docMk/>
            <pc:sldMk cId="414280482" sldId="2147472316"/>
            <ac:spMk id="24" creationId="{964923DB-2256-419B-A063-3239D1FC888E}"/>
          </ac:spMkLst>
        </pc:spChg>
        <pc:spChg chg="mod">
          <ac:chgData name="Hillard, Laura" userId="fb6b425a-e8d9-473f-bcd9-e45358f5bb1d" providerId="ADAL" clId="{D3A1C6C3-602D-4DD0-A0EA-54AD05E80041}" dt="2023-08-21T16:30:14.301" v="84" actId="207"/>
          <ac:spMkLst>
            <pc:docMk/>
            <pc:sldMk cId="414280482" sldId="2147472316"/>
            <ac:spMk id="25" creationId="{4A02B834-331E-5EF2-4CC5-6E0D90620543}"/>
          </ac:spMkLst>
        </pc:spChg>
      </pc:sldChg>
      <pc:sldChg chg="delSp modSp add del mod delCm">
        <pc:chgData name="Hillard, Laura" userId="fb6b425a-e8d9-473f-bcd9-e45358f5bb1d" providerId="ADAL" clId="{D3A1C6C3-602D-4DD0-A0EA-54AD05E80041}" dt="2023-08-21T16:56:08.953" v="223" actId="47"/>
        <pc:sldMkLst>
          <pc:docMk/>
          <pc:sldMk cId="1523133300" sldId="2147472317"/>
        </pc:sldMkLst>
        <pc:spChg chg="del">
          <ac:chgData name="Hillard, Laura" userId="fb6b425a-e8d9-473f-bcd9-e45358f5bb1d" providerId="ADAL" clId="{D3A1C6C3-602D-4DD0-A0EA-54AD05E80041}" dt="2023-08-21T15:15:19.919" v="34" actId="478"/>
          <ac:spMkLst>
            <pc:docMk/>
            <pc:sldMk cId="1523133300" sldId="2147472317"/>
            <ac:spMk id="4" creationId="{9CA0E7DF-8DD3-6E2B-6243-EF4F30CD3EC1}"/>
          </ac:spMkLst>
        </pc:spChg>
        <pc:spChg chg="del">
          <ac:chgData name="Hillard, Laura" userId="fb6b425a-e8d9-473f-bcd9-e45358f5bb1d" providerId="ADAL" clId="{D3A1C6C3-602D-4DD0-A0EA-54AD05E80041}" dt="2023-08-21T15:15:19.919" v="34" actId="478"/>
          <ac:spMkLst>
            <pc:docMk/>
            <pc:sldMk cId="1523133300" sldId="2147472317"/>
            <ac:spMk id="5" creationId="{55F7E75A-939F-F836-EE53-D62BA5E8FA2F}"/>
          </ac:spMkLst>
        </pc:spChg>
        <pc:spChg chg="del">
          <ac:chgData name="Hillard, Laura" userId="fb6b425a-e8d9-473f-bcd9-e45358f5bb1d" providerId="ADAL" clId="{D3A1C6C3-602D-4DD0-A0EA-54AD05E80041}" dt="2023-08-21T15:15:19.919" v="34" actId="478"/>
          <ac:spMkLst>
            <pc:docMk/>
            <pc:sldMk cId="1523133300" sldId="2147472317"/>
            <ac:spMk id="6" creationId="{5645D8C6-637E-32D5-B30F-91697AD34922}"/>
          </ac:spMkLst>
        </pc:spChg>
        <pc:spChg chg="del">
          <ac:chgData name="Hillard, Laura" userId="fb6b425a-e8d9-473f-bcd9-e45358f5bb1d" providerId="ADAL" clId="{D3A1C6C3-602D-4DD0-A0EA-54AD05E80041}" dt="2023-08-21T15:15:19.919" v="34" actId="478"/>
          <ac:spMkLst>
            <pc:docMk/>
            <pc:sldMk cId="1523133300" sldId="2147472317"/>
            <ac:spMk id="7" creationId="{7530EA3E-6DD5-461D-C3EE-294365C4E205}"/>
          </ac:spMkLst>
        </pc:spChg>
        <pc:spChg chg="del">
          <ac:chgData name="Hillard, Laura" userId="fb6b425a-e8d9-473f-bcd9-e45358f5bb1d" providerId="ADAL" clId="{D3A1C6C3-602D-4DD0-A0EA-54AD05E80041}" dt="2023-08-21T15:15:19.919" v="34" actId="478"/>
          <ac:spMkLst>
            <pc:docMk/>
            <pc:sldMk cId="1523133300" sldId="2147472317"/>
            <ac:spMk id="8" creationId="{F3F8B558-D5F4-98AA-C3D8-347AD751685A}"/>
          </ac:spMkLst>
        </pc:spChg>
        <pc:spChg chg="del">
          <ac:chgData name="Hillard, Laura" userId="fb6b425a-e8d9-473f-bcd9-e45358f5bb1d" providerId="ADAL" clId="{D3A1C6C3-602D-4DD0-A0EA-54AD05E80041}" dt="2023-08-21T15:15:19.919" v="34" actId="478"/>
          <ac:spMkLst>
            <pc:docMk/>
            <pc:sldMk cId="1523133300" sldId="2147472317"/>
            <ac:spMk id="10" creationId="{99973E27-D23C-8EAB-0233-078EAE2F31C4}"/>
          </ac:spMkLst>
        </pc:spChg>
        <pc:spChg chg="del">
          <ac:chgData name="Hillard, Laura" userId="fb6b425a-e8d9-473f-bcd9-e45358f5bb1d" providerId="ADAL" clId="{D3A1C6C3-602D-4DD0-A0EA-54AD05E80041}" dt="2023-08-21T15:15:19.919" v="34" actId="478"/>
          <ac:spMkLst>
            <pc:docMk/>
            <pc:sldMk cId="1523133300" sldId="2147472317"/>
            <ac:spMk id="11" creationId="{63756C7A-6F4E-DA1D-CB2C-AF4B0C293591}"/>
          </ac:spMkLst>
        </pc:spChg>
        <pc:spChg chg="del">
          <ac:chgData name="Hillard, Laura" userId="fb6b425a-e8d9-473f-bcd9-e45358f5bb1d" providerId="ADAL" clId="{D3A1C6C3-602D-4DD0-A0EA-54AD05E80041}" dt="2023-08-21T15:15:19.919" v="34" actId="478"/>
          <ac:spMkLst>
            <pc:docMk/>
            <pc:sldMk cId="1523133300" sldId="2147472317"/>
            <ac:spMk id="12" creationId="{7469E343-B5CC-62E4-2EBE-5A33718B97D9}"/>
          </ac:spMkLst>
        </pc:spChg>
        <pc:spChg chg="del">
          <ac:chgData name="Hillard, Laura" userId="fb6b425a-e8d9-473f-bcd9-e45358f5bb1d" providerId="ADAL" clId="{D3A1C6C3-602D-4DD0-A0EA-54AD05E80041}" dt="2023-08-21T15:15:19.919" v="34" actId="478"/>
          <ac:spMkLst>
            <pc:docMk/>
            <pc:sldMk cId="1523133300" sldId="2147472317"/>
            <ac:spMk id="13" creationId="{6EC7F595-4BD3-EBA2-0C3D-5C6E13650E37}"/>
          </ac:spMkLst>
        </pc:spChg>
        <pc:spChg chg="del">
          <ac:chgData name="Hillard, Laura" userId="fb6b425a-e8d9-473f-bcd9-e45358f5bb1d" providerId="ADAL" clId="{D3A1C6C3-602D-4DD0-A0EA-54AD05E80041}" dt="2023-08-21T15:15:19.919" v="34" actId="478"/>
          <ac:spMkLst>
            <pc:docMk/>
            <pc:sldMk cId="1523133300" sldId="2147472317"/>
            <ac:spMk id="14" creationId="{AAE2D81C-BC39-7EB8-5B01-46548E6EE316}"/>
          </ac:spMkLst>
        </pc:spChg>
        <pc:spChg chg="del">
          <ac:chgData name="Hillard, Laura" userId="fb6b425a-e8d9-473f-bcd9-e45358f5bb1d" providerId="ADAL" clId="{D3A1C6C3-602D-4DD0-A0EA-54AD05E80041}" dt="2023-08-21T15:15:19.919" v="34" actId="478"/>
          <ac:spMkLst>
            <pc:docMk/>
            <pc:sldMk cId="1523133300" sldId="2147472317"/>
            <ac:spMk id="15" creationId="{57B33666-C1A3-4504-F140-3250966753B6}"/>
          </ac:spMkLst>
        </pc:spChg>
        <pc:spChg chg="mod">
          <ac:chgData name="Hillard, Laura" userId="fb6b425a-e8d9-473f-bcd9-e45358f5bb1d" providerId="ADAL" clId="{D3A1C6C3-602D-4DD0-A0EA-54AD05E80041}" dt="2023-08-21T15:15:13.952" v="32" actId="20577"/>
          <ac:spMkLst>
            <pc:docMk/>
            <pc:sldMk cId="1523133300" sldId="2147472317"/>
            <ac:spMk id="24" creationId="{964923DB-2256-419B-A063-3239D1FC888E}"/>
          </ac:spMkLst>
        </pc:spChg>
        <pc:spChg chg="del">
          <ac:chgData name="Hillard, Laura" userId="fb6b425a-e8d9-473f-bcd9-e45358f5bb1d" providerId="ADAL" clId="{D3A1C6C3-602D-4DD0-A0EA-54AD05E80041}" dt="2023-08-21T15:15:19.919" v="34" actId="478"/>
          <ac:spMkLst>
            <pc:docMk/>
            <pc:sldMk cId="1523133300" sldId="2147472317"/>
            <ac:spMk id="27" creationId="{551BC47C-F129-1C42-0E66-9BB8DE7E51FC}"/>
          </ac:spMkLst>
        </pc:spChg>
        <pc:grpChg chg="del">
          <ac:chgData name="Hillard, Laura" userId="fb6b425a-e8d9-473f-bcd9-e45358f5bb1d" providerId="ADAL" clId="{D3A1C6C3-602D-4DD0-A0EA-54AD05E80041}" dt="2023-08-21T15:15:19.919" v="34" actId="478"/>
          <ac:grpSpMkLst>
            <pc:docMk/>
            <pc:sldMk cId="1523133300" sldId="2147472317"/>
            <ac:grpSpMk id="16" creationId="{D409ACC4-E5AC-EBCE-A213-340F55EADB38}"/>
          </ac:grpSpMkLst>
        </pc:grpChg>
        <pc:grpChg chg="del">
          <ac:chgData name="Hillard, Laura" userId="fb6b425a-e8d9-473f-bcd9-e45358f5bb1d" providerId="ADAL" clId="{D3A1C6C3-602D-4DD0-A0EA-54AD05E80041}" dt="2023-08-21T15:15:19.919" v="34" actId="478"/>
          <ac:grpSpMkLst>
            <pc:docMk/>
            <pc:sldMk cId="1523133300" sldId="2147472317"/>
            <ac:grpSpMk id="19" creationId="{2CAA2285-4F41-82B5-B10E-16ECCAED5B2E}"/>
          </ac:grpSpMkLst>
        </pc:grpChg>
        <pc:picChg chg="del">
          <ac:chgData name="Hillard, Laura" userId="fb6b425a-e8d9-473f-bcd9-e45358f5bb1d" providerId="ADAL" clId="{D3A1C6C3-602D-4DD0-A0EA-54AD05E80041}" dt="2023-08-21T15:15:19.919" v="34" actId="478"/>
          <ac:picMkLst>
            <pc:docMk/>
            <pc:sldMk cId="1523133300" sldId="2147472317"/>
            <ac:picMk id="9" creationId="{920D8CC3-2A08-B20A-C0D8-2E5B2EF83CF1}"/>
          </ac:picMkLst>
        </pc:picChg>
        <pc:cxnChg chg="del">
          <ac:chgData name="Hillard, Laura" userId="fb6b425a-e8d9-473f-bcd9-e45358f5bb1d" providerId="ADAL" clId="{D3A1C6C3-602D-4DD0-A0EA-54AD05E80041}" dt="2023-08-21T15:15:19.919" v="34" actId="478"/>
          <ac:cxnSpMkLst>
            <pc:docMk/>
            <pc:sldMk cId="1523133300" sldId="2147472317"/>
            <ac:cxnSpMk id="3" creationId="{8AD40C87-0B2C-911D-B651-68316FD117F7}"/>
          </ac:cxnSpMkLst>
        </pc:cxnChg>
      </pc:sldChg>
      <pc:sldChg chg="addSp delSp modSp add mod ord">
        <pc:chgData name="Hillard, Laura" userId="fb6b425a-e8d9-473f-bcd9-e45358f5bb1d" providerId="ADAL" clId="{D3A1C6C3-602D-4DD0-A0EA-54AD05E80041}" dt="2023-08-21T18:34:16.496" v="2985" actId="20577"/>
        <pc:sldMkLst>
          <pc:docMk/>
          <pc:sldMk cId="3435423304" sldId="2147472318"/>
        </pc:sldMkLst>
        <pc:spChg chg="mod topLvl">
          <ac:chgData name="Hillard, Laura" userId="fb6b425a-e8d9-473f-bcd9-e45358f5bb1d" providerId="ADAL" clId="{D3A1C6C3-602D-4DD0-A0EA-54AD05E80041}" dt="2023-08-21T18:14:36.780" v="2258" actId="164"/>
          <ac:spMkLst>
            <pc:docMk/>
            <pc:sldMk cId="3435423304" sldId="2147472318"/>
            <ac:spMk id="4" creationId="{989CC439-3D95-2740-B3A6-6FD77542A648}"/>
          </ac:spMkLst>
        </pc:spChg>
        <pc:spChg chg="mod">
          <ac:chgData name="Hillard, Laura" userId="fb6b425a-e8d9-473f-bcd9-e45358f5bb1d" providerId="ADAL" clId="{D3A1C6C3-602D-4DD0-A0EA-54AD05E80041}" dt="2023-08-21T18:15:06.610" v="2313" actId="20577"/>
          <ac:spMkLst>
            <pc:docMk/>
            <pc:sldMk cId="3435423304" sldId="2147472318"/>
            <ac:spMk id="24" creationId="{964923DB-2256-419B-A063-3239D1FC888E}"/>
          </ac:spMkLst>
        </pc:spChg>
        <pc:spChg chg="mod">
          <ac:chgData name="Hillard, Laura" userId="fb6b425a-e8d9-473f-bcd9-e45358f5bb1d" providerId="ADAL" clId="{D3A1C6C3-602D-4DD0-A0EA-54AD05E80041}" dt="2023-08-21T18:34:16.496" v="2985" actId="20577"/>
          <ac:spMkLst>
            <pc:docMk/>
            <pc:sldMk cId="3435423304" sldId="2147472318"/>
            <ac:spMk id="25" creationId="{4A02B834-331E-5EF2-4CC5-6E0D90620543}"/>
          </ac:spMkLst>
        </pc:spChg>
        <pc:grpChg chg="add del mod">
          <ac:chgData name="Hillard, Laura" userId="fb6b425a-e8d9-473f-bcd9-e45358f5bb1d" providerId="ADAL" clId="{D3A1C6C3-602D-4DD0-A0EA-54AD05E80041}" dt="2023-08-21T18:08:45.129" v="1655" actId="478"/>
          <ac:grpSpMkLst>
            <pc:docMk/>
            <pc:sldMk cId="3435423304" sldId="2147472318"/>
            <ac:grpSpMk id="3" creationId="{1A2FAADD-DBE1-AE8D-0CB2-A5ED697541CB}"/>
          </ac:grpSpMkLst>
        </pc:grpChg>
        <pc:grpChg chg="add mod">
          <ac:chgData name="Hillard, Laura" userId="fb6b425a-e8d9-473f-bcd9-e45358f5bb1d" providerId="ADAL" clId="{D3A1C6C3-602D-4DD0-A0EA-54AD05E80041}" dt="2023-08-21T18:14:37.766" v="2259" actId="1076"/>
          <ac:grpSpMkLst>
            <pc:docMk/>
            <pc:sldMk cId="3435423304" sldId="2147472318"/>
            <ac:grpSpMk id="8" creationId="{83DB2ECB-5496-73D9-ABD8-C8E1CEFD7436}"/>
          </ac:grpSpMkLst>
        </pc:grpChg>
        <pc:picChg chg="del mod topLvl">
          <ac:chgData name="Hillard, Laura" userId="fb6b425a-e8d9-473f-bcd9-e45358f5bb1d" providerId="ADAL" clId="{D3A1C6C3-602D-4DD0-A0EA-54AD05E80041}" dt="2023-08-21T18:08:45.129" v="1655" actId="478"/>
          <ac:picMkLst>
            <pc:docMk/>
            <pc:sldMk cId="3435423304" sldId="2147472318"/>
            <ac:picMk id="5" creationId="{50892DA2-7669-6986-3ACC-140B34761E9B}"/>
          </ac:picMkLst>
        </pc:picChg>
        <pc:picChg chg="add mod">
          <ac:chgData name="Hillard, Laura" userId="fb6b425a-e8d9-473f-bcd9-e45358f5bb1d" providerId="ADAL" clId="{D3A1C6C3-602D-4DD0-A0EA-54AD05E80041}" dt="2023-08-21T18:14:36.780" v="2258" actId="164"/>
          <ac:picMkLst>
            <pc:docMk/>
            <pc:sldMk cId="3435423304" sldId="2147472318"/>
            <ac:picMk id="7" creationId="{70B72DED-1E83-FBCA-757C-B3B61FFE7535}"/>
          </ac:picMkLst>
        </pc:picChg>
        <pc:picChg chg="del">
          <ac:chgData name="Hillard, Laura" userId="fb6b425a-e8d9-473f-bcd9-e45358f5bb1d" providerId="ADAL" clId="{D3A1C6C3-602D-4DD0-A0EA-54AD05E80041}" dt="2023-08-21T15:28:24.638" v="47" actId="478"/>
          <ac:picMkLst>
            <pc:docMk/>
            <pc:sldMk cId="3435423304" sldId="2147472318"/>
            <ac:picMk id="26" creationId="{A2E44B7A-42C4-73C2-7C53-BABF50439C4F}"/>
          </ac:picMkLst>
        </pc:picChg>
      </pc:sldChg>
      <pc:sldChg chg="addSp delSp modSp add mod ord setBg">
        <pc:chgData name="Hillard, Laura" userId="fb6b425a-e8d9-473f-bcd9-e45358f5bb1d" providerId="ADAL" clId="{D3A1C6C3-602D-4DD0-A0EA-54AD05E80041}" dt="2023-08-21T17:31:32.856" v="673" actId="20577"/>
        <pc:sldMkLst>
          <pc:docMk/>
          <pc:sldMk cId="3359826993" sldId="2147472319"/>
        </pc:sldMkLst>
        <pc:spChg chg="del">
          <ac:chgData name="Hillard, Laura" userId="fb6b425a-e8d9-473f-bcd9-e45358f5bb1d" providerId="ADAL" clId="{D3A1C6C3-602D-4DD0-A0EA-54AD05E80041}" dt="2023-08-21T16:56:13.003" v="224" actId="478"/>
          <ac:spMkLst>
            <pc:docMk/>
            <pc:sldMk cId="3359826993" sldId="2147472319"/>
            <ac:spMk id="2" creationId="{FEB35BAE-7ABE-4A71-9AB3-7CCD18270BCD}"/>
          </ac:spMkLst>
        </pc:spChg>
        <pc:spChg chg="del">
          <ac:chgData name="Hillard, Laura" userId="fb6b425a-e8d9-473f-bcd9-e45358f5bb1d" providerId="ADAL" clId="{D3A1C6C3-602D-4DD0-A0EA-54AD05E80041}" dt="2023-08-21T16:56:13.003" v="224" actId="478"/>
          <ac:spMkLst>
            <pc:docMk/>
            <pc:sldMk cId="3359826993" sldId="2147472319"/>
            <ac:spMk id="4" creationId="{9CA0E7DF-8DD3-6E2B-6243-EF4F30CD3EC1}"/>
          </ac:spMkLst>
        </pc:spChg>
        <pc:spChg chg="del">
          <ac:chgData name="Hillard, Laura" userId="fb6b425a-e8d9-473f-bcd9-e45358f5bb1d" providerId="ADAL" clId="{D3A1C6C3-602D-4DD0-A0EA-54AD05E80041}" dt="2023-08-21T16:56:13.003" v="224" actId="478"/>
          <ac:spMkLst>
            <pc:docMk/>
            <pc:sldMk cId="3359826993" sldId="2147472319"/>
            <ac:spMk id="5" creationId="{55F7E75A-939F-F836-EE53-D62BA5E8FA2F}"/>
          </ac:spMkLst>
        </pc:spChg>
        <pc:spChg chg="del">
          <ac:chgData name="Hillard, Laura" userId="fb6b425a-e8d9-473f-bcd9-e45358f5bb1d" providerId="ADAL" clId="{D3A1C6C3-602D-4DD0-A0EA-54AD05E80041}" dt="2023-08-21T16:56:13.003" v="224" actId="478"/>
          <ac:spMkLst>
            <pc:docMk/>
            <pc:sldMk cId="3359826993" sldId="2147472319"/>
            <ac:spMk id="6" creationId="{5645D8C6-637E-32D5-B30F-91697AD34922}"/>
          </ac:spMkLst>
        </pc:spChg>
        <pc:spChg chg="del">
          <ac:chgData name="Hillard, Laura" userId="fb6b425a-e8d9-473f-bcd9-e45358f5bb1d" providerId="ADAL" clId="{D3A1C6C3-602D-4DD0-A0EA-54AD05E80041}" dt="2023-08-21T16:56:13.003" v="224" actId="478"/>
          <ac:spMkLst>
            <pc:docMk/>
            <pc:sldMk cId="3359826993" sldId="2147472319"/>
            <ac:spMk id="7" creationId="{7530EA3E-6DD5-461D-C3EE-294365C4E205}"/>
          </ac:spMkLst>
        </pc:spChg>
        <pc:spChg chg="del">
          <ac:chgData name="Hillard, Laura" userId="fb6b425a-e8d9-473f-bcd9-e45358f5bb1d" providerId="ADAL" clId="{D3A1C6C3-602D-4DD0-A0EA-54AD05E80041}" dt="2023-08-21T16:56:13.003" v="224" actId="478"/>
          <ac:spMkLst>
            <pc:docMk/>
            <pc:sldMk cId="3359826993" sldId="2147472319"/>
            <ac:spMk id="8" creationId="{F3F8B558-D5F4-98AA-C3D8-347AD751685A}"/>
          </ac:spMkLst>
        </pc:spChg>
        <pc:spChg chg="del">
          <ac:chgData name="Hillard, Laura" userId="fb6b425a-e8d9-473f-bcd9-e45358f5bb1d" providerId="ADAL" clId="{D3A1C6C3-602D-4DD0-A0EA-54AD05E80041}" dt="2023-08-21T16:56:13.003" v="224" actId="478"/>
          <ac:spMkLst>
            <pc:docMk/>
            <pc:sldMk cId="3359826993" sldId="2147472319"/>
            <ac:spMk id="10" creationId="{99973E27-D23C-8EAB-0233-078EAE2F31C4}"/>
          </ac:spMkLst>
        </pc:spChg>
        <pc:spChg chg="del">
          <ac:chgData name="Hillard, Laura" userId="fb6b425a-e8d9-473f-bcd9-e45358f5bb1d" providerId="ADAL" clId="{D3A1C6C3-602D-4DD0-A0EA-54AD05E80041}" dt="2023-08-21T16:56:13.003" v="224" actId="478"/>
          <ac:spMkLst>
            <pc:docMk/>
            <pc:sldMk cId="3359826993" sldId="2147472319"/>
            <ac:spMk id="11" creationId="{63756C7A-6F4E-DA1D-CB2C-AF4B0C293591}"/>
          </ac:spMkLst>
        </pc:spChg>
        <pc:spChg chg="del">
          <ac:chgData name="Hillard, Laura" userId="fb6b425a-e8d9-473f-bcd9-e45358f5bb1d" providerId="ADAL" clId="{D3A1C6C3-602D-4DD0-A0EA-54AD05E80041}" dt="2023-08-21T16:56:13.003" v="224" actId="478"/>
          <ac:spMkLst>
            <pc:docMk/>
            <pc:sldMk cId="3359826993" sldId="2147472319"/>
            <ac:spMk id="12" creationId="{7469E343-B5CC-62E4-2EBE-5A33718B97D9}"/>
          </ac:spMkLst>
        </pc:spChg>
        <pc:spChg chg="del">
          <ac:chgData name="Hillard, Laura" userId="fb6b425a-e8d9-473f-bcd9-e45358f5bb1d" providerId="ADAL" clId="{D3A1C6C3-602D-4DD0-A0EA-54AD05E80041}" dt="2023-08-21T16:56:13.003" v="224" actId="478"/>
          <ac:spMkLst>
            <pc:docMk/>
            <pc:sldMk cId="3359826993" sldId="2147472319"/>
            <ac:spMk id="13" creationId="{6EC7F595-4BD3-EBA2-0C3D-5C6E13650E37}"/>
          </ac:spMkLst>
        </pc:spChg>
        <pc:spChg chg="del">
          <ac:chgData name="Hillard, Laura" userId="fb6b425a-e8d9-473f-bcd9-e45358f5bb1d" providerId="ADAL" clId="{D3A1C6C3-602D-4DD0-A0EA-54AD05E80041}" dt="2023-08-21T16:56:13.003" v="224" actId="478"/>
          <ac:spMkLst>
            <pc:docMk/>
            <pc:sldMk cId="3359826993" sldId="2147472319"/>
            <ac:spMk id="14" creationId="{AAE2D81C-BC39-7EB8-5B01-46548E6EE316}"/>
          </ac:spMkLst>
        </pc:spChg>
        <pc:spChg chg="del">
          <ac:chgData name="Hillard, Laura" userId="fb6b425a-e8d9-473f-bcd9-e45358f5bb1d" providerId="ADAL" clId="{D3A1C6C3-602D-4DD0-A0EA-54AD05E80041}" dt="2023-08-21T16:56:13.003" v="224" actId="478"/>
          <ac:spMkLst>
            <pc:docMk/>
            <pc:sldMk cId="3359826993" sldId="2147472319"/>
            <ac:spMk id="15" creationId="{57B33666-C1A3-4504-F140-3250966753B6}"/>
          </ac:spMkLst>
        </pc:spChg>
        <pc:spChg chg="del mod">
          <ac:chgData name="Hillard, Laura" userId="fb6b425a-e8d9-473f-bcd9-e45358f5bb1d" providerId="ADAL" clId="{D3A1C6C3-602D-4DD0-A0EA-54AD05E80041}" dt="2023-08-21T17:04:56.064" v="531" actId="478"/>
          <ac:spMkLst>
            <pc:docMk/>
            <pc:sldMk cId="3359826993" sldId="2147472319"/>
            <ac:spMk id="24" creationId="{964923DB-2256-419B-A063-3239D1FC888E}"/>
          </ac:spMkLst>
        </pc:spChg>
        <pc:spChg chg="add mod">
          <ac:chgData name="Hillard, Laura" userId="fb6b425a-e8d9-473f-bcd9-e45358f5bb1d" providerId="ADAL" clId="{D3A1C6C3-602D-4DD0-A0EA-54AD05E80041}" dt="2023-08-21T17:09:14.840" v="636" actId="1035"/>
          <ac:spMkLst>
            <pc:docMk/>
            <pc:sldMk cId="3359826993" sldId="2147472319"/>
            <ac:spMk id="25" creationId="{B21F8133-E4C9-1D41-FB2A-DD35B6C89655}"/>
          </ac:spMkLst>
        </pc:spChg>
        <pc:spChg chg="add mod ord">
          <ac:chgData name="Hillard, Laura" userId="fb6b425a-e8d9-473f-bcd9-e45358f5bb1d" providerId="ADAL" clId="{D3A1C6C3-602D-4DD0-A0EA-54AD05E80041}" dt="2023-08-21T17:31:32.856" v="673" actId="20577"/>
          <ac:spMkLst>
            <pc:docMk/>
            <pc:sldMk cId="3359826993" sldId="2147472319"/>
            <ac:spMk id="26" creationId="{DEE75100-C714-08C0-44AB-D4EB27D6C5B6}"/>
          </ac:spMkLst>
        </pc:spChg>
        <pc:spChg chg="del">
          <ac:chgData name="Hillard, Laura" userId="fb6b425a-e8d9-473f-bcd9-e45358f5bb1d" providerId="ADAL" clId="{D3A1C6C3-602D-4DD0-A0EA-54AD05E80041}" dt="2023-08-21T16:56:13.003" v="224" actId="478"/>
          <ac:spMkLst>
            <pc:docMk/>
            <pc:sldMk cId="3359826993" sldId="2147472319"/>
            <ac:spMk id="27" creationId="{551BC47C-F129-1C42-0E66-9BB8DE7E51FC}"/>
          </ac:spMkLst>
        </pc:spChg>
        <pc:spChg chg="add mod">
          <ac:chgData name="Hillard, Laura" userId="fb6b425a-e8d9-473f-bcd9-e45358f5bb1d" providerId="ADAL" clId="{D3A1C6C3-602D-4DD0-A0EA-54AD05E80041}" dt="2023-08-21T17:06:58.226" v="607" actId="20577"/>
          <ac:spMkLst>
            <pc:docMk/>
            <pc:sldMk cId="3359826993" sldId="2147472319"/>
            <ac:spMk id="29" creationId="{B515B0E5-7FEB-C657-72FA-A1A6F61EDC51}"/>
          </ac:spMkLst>
        </pc:spChg>
        <pc:spChg chg="add mod ord">
          <ac:chgData name="Hillard, Laura" userId="fb6b425a-e8d9-473f-bcd9-e45358f5bb1d" providerId="ADAL" clId="{D3A1C6C3-602D-4DD0-A0EA-54AD05E80041}" dt="2023-08-21T17:19:38.898" v="650" actId="1036"/>
          <ac:spMkLst>
            <pc:docMk/>
            <pc:sldMk cId="3359826993" sldId="2147472319"/>
            <ac:spMk id="30" creationId="{2C632850-31FD-1741-14FA-FBF97B8D5025}"/>
          </ac:spMkLst>
        </pc:spChg>
        <pc:spChg chg="add del">
          <ac:chgData name="Hillard, Laura" userId="fb6b425a-e8d9-473f-bcd9-e45358f5bb1d" providerId="ADAL" clId="{D3A1C6C3-602D-4DD0-A0EA-54AD05E80041}" dt="2023-08-21T17:05:14.195" v="533" actId="26606"/>
          <ac:spMkLst>
            <pc:docMk/>
            <pc:sldMk cId="3359826993" sldId="2147472319"/>
            <ac:spMk id="33" creationId="{D1D34770-47A8-402C-AF23-2B653F2D88C1}"/>
          </ac:spMkLst>
        </pc:spChg>
        <pc:spChg chg="add del">
          <ac:chgData name="Hillard, Laura" userId="fb6b425a-e8d9-473f-bcd9-e45358f5bb1d" providerId="ADAL" clId="{D3A1C6C3-602D-4DD0-A0EA-54AD05E80041}" dt="2023-08-21T17:05:21.506" v="535" actId="26606"/>
          <ac:spMkLst>
            <pc:docMk/>
            <pc:sldMk cId="3359826993" sldId="2147472319"/>
            <ac:spMk id="35" creationId="{D4974D33-8DC5-464E-8C6D-BE58F0669C17}"/>
          </ac:spMkLst>
        </pc:spChg>
        <pc:spChg chg="add del">
          <ac:chgData name="Hillard, Laura" userId="fb6b425a-e8d9-473f-bcd9-e45358f5bb1d" providerId="ADAL" clId="{D3A1C6C3-602D-4DD0-A0EA-54AD05E80041}" dt="2023-08-21T17:05:21.506" v="535" actId="26606"/>
          <ac:spMkLst>
            <pc:docMk/>
            <pc:sldMk cId="3359826993" sldId="2147472319"/>
            <ac:spMk id="36" creationId="{F13C74B1-5B17-4795-BED0-7140497B445A}"/>
          </ac:spMkLst>
        </pc:spChg>
        <pc:spChg chg="add del">
          <ac:chgData name="Hillard, Laura" userId="fb6b425a-e8d9-473f-bcd9-e45358f5bb1d" providerId="ADAL" clId="{D3A1C6C3-602D-4DD0-A0EA-54AD05E80041}" dt="2023-08-21T17:05:22.506" v="537" actId="26606"/>
          <ac:spMkLst>
            <pc:docMk/>
            <pc:sldMk cId="3359826993" sldId="2147472319"/>
            <ac:spMk id="38" creationId="{D1D34770-47A8-402C-AF23-2B653F2D88C1}"/>
          </ac:spMkLst>
        </pc:spChg>
        <pc:spChg chg="add del">
          <ac:chgData name="Hillard, Laura" userId="fb6b425a-e8d9-473f-bcd9-e45358f5bb1d" providerId="ADAL" clId="{D3A1C6C3-602D-4DD0-A0EA-54AD05E80041}" dt="2023-08-21T17:05:30.989" v="539" actId="26606"/>
          <ac:spMkLst>
            <pc:docMk/>
            <pc:sldMk cId="3359826993" sldId="2147472319"/>
            <ac:spMk id="40" creationId="{7ED7575E-88D2-B771-681D-46A7E55415DD}"/>
          </ac:spMkLst>
        </pc:spChg>
        <pc:spChg chg="add">
          <ac:chgData name="Hillard, Laura" userId="fb6b425a-e8d9-473f-bcd9-e45358f5bb1d" providerId="ADAL" clId="{D3A1C6C3-602D-4DD0-A0EA-54AD05E80041}" dt="2023-08-21T17:05:30.994" v="540" actId="26606"/>
          <ac:spMkLst>
            <pc:docMk/>
            <pc:sldMk cId="3359826993" sldId="2147472319"/>
            <ac:spMk id="43" creationId="{D1D34770-47A8-402C-AF23-2B653F2D88C1}"/>
          </ac:spMkLst>
        </pc:spChg>
        <pc:grpChg chg="del">
          <ac:chgData name="Hillard, Laura" userId="fb6b425a-e8d9-473f-bcd9-e45358f5bb1d" providerId="ADAL" clId="{D3A1C6C3-602D-4DD0-A0EA-54AD05E80041}" dt="2023-08-21T16:56:13.003" v="224" actId="478"/>
          <ac:grpSpMkLst>
            <pc:docMk/>
            <pc:sldMk cId="3359826993" sldId="2147472319"/>
            <ac:grpSpMk id="16" creationId="{D409ACC4-E5AC-EBCE-A213-340F55EADB38}"/>
          </ac:grpSpMkLst>
        </pc:grpChg>
        <pc:grpChg chg="del">
          <ac:chgData name="Hillard, Laura" userId="fb6b425a-e8d9-473f-bcd9-e45358f5bb1d" providerId="ADAL" clId="{D3A1C6C3-602D-4DD0-A0EA-54AD05E80041}" dt="2023-08-21T16:56:13.003" v="224" actId="478"/>
          <ac:grpSpMkLst>
            <pc:docMk/>
            <pc:sldMk cId="3359826993" sldId="2147472319"/>
            <ac:grpSpMk id="19" creationId="{2CAA2285-4F41-82B5-B10E-16ECCAED5B2E}"/>
          </ac:grpSpMkLst>
        </pc:grpChg>
        <pc:picChg chg="del">
          <ac:chgData name="Hillard, Laura" userId="fb6b425a-e8d9-473f-bcd9-e45358f5bb1d" providerId="ADAL" clId="{D3A1C6C3-602D-4DD0-A0EA-54AD05E80041}" dt="2023-08-21T16:56:13.003" v="224" actId="478"/>
          <ac:picMkLst>
            <pc:docMk/>
            <pc:sldMk cId="3359826993" sldId="2147472319"/>
            <ac:picMk id="9" creationId="{920D8CC3-2A08-B20A-C0D8-2E5B2EF83CF1}"/>
          </ac:picMkLst>
        </pc:picChg>
        <pc:picChg chg="add mod">
          <ac:chgData name="Hillard, Laura" userId="fb6b425a-e8d9-473f-bcd9-e45358f5bb1d" providerId="ADAL" clId="{D3A1C6C3-602D-4DD0-A0EA-54AD05E80041}" dt="2023-08-21T17:05:33.581" v="541" actId="27614"/>
          <ac:picMkLst>
            <pc:docMk/>
            <pc:sldMk cId="3359826993" sldId="2147472319"/>
            <ac:picMk id="28" creationId="{FF23409F-04AB-4695-21D1-2DCF84B8A991}"/>
          </ac:picMkLst>
        </pc:picChg>
        <pc:cxnChg chg="del">
          <ac:chgData name="Hillard, Laura" userId="fb6b425a-e8d9-473f-bcd9-e45358f5bb1d" providerId="ADAL" clId="{D3A1C6C3-602D-4DD0-A0EA-54AD05E80041}" dt="2023-08-21T16:56:13.003" v="224" actId="478"/>
          <ac:cxnSpMkLst>
            <pc:docMk/>
            <pc:sldMk cId="3359826993" sldId="2147472319"/>
            <ac:cxnSpMk id="3" creationId="{8AD40C87-0B2C-911D-B651-68316FD117F7}"/>
          </ac:cxnSpMkLst>
        </pc:cxnChg>
        <pc:cxnChg chg="add del">
          <ac:chgData name="Hillard, Laura" userId="fb6b425a-e8d9-473f-bcd9-e45358f5bb1d" providerId="ADAL" clId="{D3A1C6C3-602D-4DD0-A0EA-54AD05E80041}" dt="2023-08-21T17:05:30.989" v="539" actId="26606"/>
          <ac:cxnSpMkLst>
            <pc:docMk/>
            <pc:sldMk cId="3359826993" sldId="2147472319"/>
            <ac:cxnSpMk id="41" creationId="{249EDD1B-F94D-B4E6-ACAA-566B9A26FDE3}"/>
          </ac:cxnSpMkLst>
        </pc:cxnChg>
      </pc:sldChg>
      <pc:sldChg chg="addSp delSp modSp add mod ord">
        <pc:chgData name="Hillard, Laura" userId="fb6b425a-e8d9-473f-bcd9-e45358f5bb1d" providerId="ADAL" clId="{D3A1C6C3-602D-4DD0-A0EA-54AD05E80041}" dt="2023-08-21T18:26:27.931" v="2776" actId="1076"/>
        <pc:sldMkLst>
          <pc:docMk/>
          <pc:sldMk cId="737233286" sldId="2147472320"/>
        </pc:sldMkLst>
        <pc:spChg chg="add del">
          <ac:chgData name="Hillard, Laura" userId="fb6b425a-e8d9-473f-bcd9-e45358f5bb1d" providerId="ADAL" clId="{D3A1C6C3-602D-4DD0-A0EA-54AD05E80041}" dt="2023-08-21T18:21:13.807" v="2632" actId="22"/>
          <ac:spMkLst>
            <pc:docMk/>
            <pc:sldMk cId="737233286" sldId="2147472320"/>
            <ac:spMk id="3" creationId="{8B3150F1-713B-6926-AC65-4361203EA283}"/>
          </ac:spMkLst>
        </pc:spChg>
        <pc:spChg chg="add mod">
          <ac:chgData name="Hillard, Laura" userId="fb6b425a-e8d9-473f-bcd9-e45358f5bb1d" providerId="ADAL" clId="{D3A1C6C3-602D-4DD0-A0EA-54AD05E80041}" dt="2023-08-21T18:26:27.931" v="2776" actId="1076"/>
          <ac:spMkLst>
            <pc:docMk/>
            <pc:sldMk cId="737233286" sldId="2147472320"/>
            <ac:spMk id="6" creationId="{5332C7B3-0DFD-290B-BF86-0152E1192579}"/>
          </ac:spMkLst>
        </pc:spChg>
        <pc:spChg chg="mod">
          <ac:chgData name="Hillard, Laura" userId="fb6b425a-e8d9-473f-bcd9-e45358f5bb1d" providerId="ADAL" clId="{D3A1C6C3-602D-4DD0-A0EA-54AD05E80041}" dt="2023-08-21T18:21:26.233" v="2663" actId="20577"/>
          <ac:spMkLst>
            <pc:docMk/>
            <pc:sldMk cId="737233286" sldId="2147472320"/>
            <ac:spMk id="23" creationId="{C42EA377-38CC-4978-BCA6-28AE188B6A07}"/>
          </ac:spMkLst>
        </pc:spChg>
        <pc:spChg chg="del">
          <ac:chgData name="Hillard, Laura" userId="fb6b425a-e8d9-473f-bcd9-e45358f5bb1d" providerId="ADAL" clId="{D3A1C6C3-602D-4DD0-A0EA-54AD05E80041}" dt="2023-08-21T18:21:10.841" v="2630" actId="478"/>
          <ac:spMkLst>
            <pc:docMk/>
            <pc:sldMk cId="737233286" sldId="2147472320"/>
            <ac:spMk id="40" creationId="{3A3EA5C9-BDB7-48B7-A973-2D773B8478F0}"/>
          </ac:spMkLst>
        </pc:spChg>
        <pc:spChg chg="del">
          <ac:chgData name="Hillard, Laura" userId="fb6b425a-e8d9-473f-bcd9-e45358f5bb1d" providerId="ADAL" clId="{D3A1C6C3-602D-4DD0-A0EA-54AD05E80041}" dt="2023-08-21T18:21:10.841" v="2630" actId="478"/>
          <ac:spMkLst>
            <pc:docMk/>
            <pc:sldMk cId="737233286" sldId="2147472320"/>
            <ac:spMk id="48" creationId="{CB2EE47D-AB55-462A-8B4F-F9F4D8FB96A2}"/>
          </ac:spMkLst>
        </pc:spChg>
        <pc:spChg chg="mod">
          <ac:chgData name="Hillard, Laura" userId="fb6b425a-e8d9-473f-bcd9-e45358f5bb1d" providerId="ADAL" clId="{D3A1C6C3-602D-4DD0-A0EA-54AD05E80041}" dt="2023-08-21T18:21:44.851" v="2737" actId="20577"/>
          <ac:spMkLst>
            <pc:docMk/>
            <pc:sldMk cId="737233286" sldId="2147472320"/>
            <ac:spMk id="53" creationId="{FA1C4791-9F0C-4204-AE40-854BE98BF79B}"/>
          </ac:spMkLst>
        </pc:spChg>
        <pc:spChg chg="del">
          <ac:chgData name="Hillard, Laura" userId="fb6b425a-e8d9-473f-bcd9-e45358f5bb1d" providerId="ADAL" clId="{D3A1C6C3-602D-4DD0-A0EA-54AD05E80041}" dt="2023-08-21T18:21:10.841" v="2630" actId="478"/>
          <ac:spMkLst>
            <pc:docMk/>
            <pc:sldMk cId="737233286" sldId="2147472320"/>
            <ac:spMk id="55" creationId="{77D14FAB-D2A2-478C-ACE2-8E85C947F953}"/>
          </ac:spMkLst>
        </pc:spChg>
        <pc:spChg chg="del">
          <ac:chgData name="Hillard, Laura" userId="fb6b425a-e8d9-473f-bcd9-e45358f5bb1d" providerId="ADAL" clId="{D3A1C6C3-602D-4DD0-A0EA-54AD05E80041}" dt="2023-08-21T18:21:10.841" v="2630" actId="478"/>
          <ac:spMkLst>
            <pc:docMk/>
            <pc:sldMk cId="737233286" sldId="2147472320"/>
            <ac:spMk id="67" creationId="{093F6FD8-F7D9-4CAF-84CE-C2B35756887D}"/>
          </ac:spMkLst>
        </pc:spChg>
        <pc:grpChg chg="del">
          <ac:chgData name="Hillard, Laura" userId="fb6b425a-e8d9-473f-bcd9-e45358f5bb1d" providerId="ADAL" clId="{D3A1C6C3-602D-4DD0-A0EA-54AD05E80041}" dt="2023-08-21T18:21:10.841" v="2630" actId="478"/>
          <ac:grpSpMkLst>
            <pc:docMk/>
            <pc:sldMk cId="737233286" sldId="2147472320"/>
            <ac:grpSpMk id="37" creationId="{9269E76E-E6A8-4A20-B35B-A73045E6EA50}"/>
          </ac:grpSpMkLst>
        </pc:grpChg>
        <pc:grpChg chg="del">
          <ac:chgData name="Hillard, Laura" userId="fb6b425a-e8d9-473f-bcd9-e45358f5bb1d" providerId="ADAL" clId="{D3A1C6C3-602D-4DD0-A0EA-54AD05E80041}" dt="2023-08-21T18:21:10.841" v="2630" actId="478"/>
          <ac:grpSpMkLst>
            <pc:docMk/>
            <pc:sldMk cId="737233286" sldId="2147472320"/>
            <ac:grpSpMk id="41" creationId="{73F9E68C-78B6-4965-B07A-D7EA44939286}"/>
          </ac:grpSpMkLst>
        </pc:grpChg>
        <pc:grpChg chg="del">
          <ac:chgData name="Hillard, Laura" userId="fb6b425a-e8d9-473f-bcd9-e45358f5bb1d" providerId="ADAL" clId="{D3A1C6C3-602D-4DD0-A0EA-54AD05E80041}" dt="2023-08-21T18:21:10.841" v="2630" actId="478"/>
          <ac:grpSpMkLst>
            <pc:docMk/>
            <pc:sldMk cId="737233286" sldId="2147472320"/>
            <ac:grpSpMk id="49" creationId="{B3FFD3C7-6240-4F8D-88D3-A05C8D0029BB}"/>
          </ac:grpSpMkLst>
        </pc:grpChg>
        <pc:grpChg chg="del">
          <ac:chgData name="Hillard, Laura" userId="fb6b425a-e8d9-473f-bcd9-e45358f5bb1d" providerId="ADAL" clId="{D3A1C6C3-602D-4DD0-A0EA-54AD05E80041}" dt="2023-08-21T18:21:10.841" v="2630" actId="478"/>
          <ac:grpSpMkLst>
            <pc:docMk/>
            <pc:sldMk cId="737233286" sldId="2147472320"/>
            <ac:grpSpMk id="56" creationId="{0463D0F0-76A8-4328-A106-3D68D03C4FFB}"/>
          </ac:grpSpMkLst>
        </pc:grpChg>
        <pc:picChg chg="add mod ord">
          <ac:chgData name="Hillard, Laura" userId="fb6b425a-e8d9-473f-bcd9-e45358f5bb1d" providerId="ADAL" clId="{D3A1C6C3-602D-4DD0-A0EA-54AD05E80041}" dt="2023-08-21T18:25:38.361" v="2764" actId="171"/>
          <ac:picMkLst>
            <pc:docMk/>
            <pc:sldMk cId="737233286" sldId="2147472320"/>
            <ac:picMk id="7" creationId="{D3480603-5639-F7E2-8FBD-471D522AE946}"/>
          </ac:picMkLst>
        </pc:picChg>
      </pc:sldChg>
    </pc:docChg>
  </pc:docChgLst>
  <pc:docChgLst>
    <pc:chgData name="Hillard, Laura" userId="fb6b425a-e8d9-473f-bcd9-e45358f5bb1d" providerId="ADAL" clId="{1850EE33-FACB-45CA-9D83-F68ECF18DDFD}"/>
    <pc:docChg chg="modSld">
      <pc:chgData name="Hillard, Laura" userId="fb6b425a-e8d9-473f-bcd9-e45358f5bb1d" providerId="ADAL" clId="{1850EE33-FACB-45CA-9D83-F68ECF18DDFD}" dt="2023-06-28T14:43:19.975" v="0" actId="165"/>
      <pc:docMkLst>
        <pc:docMk/>
      </pc:docMkLst>
      <pc:sldChg chg="delSp modSp">
        <pc:chgData name="Hillard, Laura" userId="fb6b425a-e8d9-473f-bcd9-e45358f5bb1d" providerId="ADAL" clId="{1850EE33-FACB-45CA-9D83-F68ECF18DDFD}" dt="2023-06-28T14:43:19.975" v="0" actId="165"/>
        <pc:sldMkLst>
          <pc:docMk/>
          <pc:sldMk cId="3173973612" sldId="578"/>
        </pc:sldMkLst>
        <pc:spChg chg="mod">
          <ac:chgData name="Hillard, Laura" userId="fb6b425a-e8d9-473f-bcd9-e45358f5bb1d" providerId="ADAL" clId="{1850EE33-FACB-45CA-9D83-F68ECF18DDFD}" dt="2023-06-28T14:43:19.975" v="0" actId="165"/>
          <ac:spMkLst>
            <pc:docMk/>
            <pc:sldMk cId="3173973612" sldId="578"/>
            <ac:spMk id="12" creationId="{D00F27C1-E3AB-465F-972A-FBE6013057F9}"/>
          </ac:spMkLst>
        </pc:spChg>
        <pc:spChg chg="mod">
          <ac:chgData name="Hillard, Laura" userId="fb6b425a-e8d9-473f-bcd9-e45358f5bb1d" providerId="ADAL" clId="{1850EE33-FACB-45CA-9D83-F68ECF18DDFD}" dt="2023-06-28T14:43:19.975" v="0" actId="165"/>
          <ac:spMkLst>
            <pc:docMk/>
            <pc:sldMk cId="3173973612" sldId="578"/>
            <ac:spMk id="18" creationId="{0D64B49B-E429-4B2E-B94A-42BED3A815D1}"/>
          </ac:spMkLst>
        </pc:spChg>
        <pc:spChg chg="mod">
          <ac:chgData name="Hillard, Laura" userId="fb6b425a-e8d9-473f-bcd9-e45358f5bb1d" providerId="ADAL" clId="{1850EE33-FACB-45CA-9D83-F68ECF18DDFD}" dt="2023-06-28T14:43:19.975" v="0" actId="165"/>
          <ac:spMkLst>
            <pc:docMk/>
            <pc:sldMk cId="3173973612" sldId="578"/>
            <ac:spMk id="27" creationId="{0B8C9A4C-45CE-409D-9D4F-488C1515EBE1}"/>
          </ac:spMkLst>
        </pc:spChg>
        <pc:spChg chg="mod">
          <ac:chgData name="Hillard, Laura" userId="fb6b425a-e8d9-473f-bcd9-e45358f5bb1d" providerId="ADAL" clId="{1850EE33-FACB-45CA-9D83-F68ECF18DDFD}" dt="2023-06-28T14:43:19.975" v="0" actId="165"/>
          <ac:spMkLst>
            <pc:docMk/>
            <pc:sldMk cId="3173973612" sldId="578"/>
            <ac:spMk id="28" creationId="{917ED2D1-8DAD-471D-A855-D9BC5E148283}"/>
          </ac:spMkLst>
        </pc:spChg>
        <pc:spChg chg="mod">
          <ac:chgData name="Hillard, Laura" userId="fb6b425a-e8d9-473f-bcd9-e45358f5bb1d" providerId="ADAL" clId="{1850EE33-FACB-45CA-9D83-F68ECF18DDFD}" dt="2023-06-28T14:43:19.975" v="0" actId="165"/>
          <ac:spMkLst>
            <pc:docMk/>
            <pc:sldMk cId="3173973612" sldId="578"/>
            <ac:spMk id="31" creationId="{48561D7C-9D0D-4C3F-9629-3111A9DD6A86}"/>
          </ac:spMkLst>
        </pc:spChg>
        <pc:spChg chg="mod">
          <ac:chgData name="Hillard, Laura" userId="fb6b425a-e8d9-473f-bcd9-e45358f5bb1d" providerId="ADAL" clId="{1850EE33-FACB-45CA-9D83-F68ECF18DDFD}" dt="2023-06-28T14:43:19.975" v="0" actId="165"/>
          <ac:spMkLst>
            <pc:docMk/>
            <pc:sldMk cId="3173973612" sldId="578"/>
            <ac:spMk id="32" creationId="{A18AA875-74CC-4576-822B-0E8430FD22C6}"/>
          </ac:spMkLst>
        </pc:spChg>
        <pc:spChg chg="mod">
          <ac:chgData name="Hillard, Laura" userId="fb6b425a-e8d9-473f-bcd9-e45358f5bb1d" providerId="ADAL" clId="{1850EE33-FACB-45CA-9D83-F68ECF18DDFD}" dt="2023-06-28T14:43:19.975" v="0" actId="165"/>
          <ac:spMkLst>
            <pc:docMk/>
            <pc:sldMk cId="3173973612" sldId="578"/>
            <ac:spMk id="33" creationId="{86292555-76AA-4DD7-8D05-B18BB8742BAE}"/>
          </ac:spMkLst>
        </pc:spChg>
        <pc:spChg chg="mod">
          <ac:chgData name="Hillard, Laura" userId="fb6b425a-e8d9-473f-bcd9-e45358f5bb1d" providerId="ADAL" clId="{1850EE33-FACB-45CA-9D83-F68ECF18DDFD}" dt="2023-06-28T14:43:19.975" v="0" actId="165"/>
          <ac:spMkLst>
            <pc:docMk/>
            <pc:sldMk cId="3173973612" sldId="578"/>
            <ac:spMk id="34" creationId="{A6BDDEE9-949B-4775-A423-79DB128F4DB8}"/>
          </ac:spMkLst>
        </pc:spChg>
        <pc:grpChg chg="mod topLvl">
          <ac:chgData name="Hillard, Laura" userId="fb6b425a-e8d9-473f-bcd9-e45358f5bb1d" providerId="ADAL" clId="{1850EE33-FACB-45CA-9D83-F68ECF18DDFD}" dt="2023-06-28T14:43:19.975" v="0" actId="165"/>
          <ac:grpSpMkLst>
            <pc:docMk/>
            <pc:sldMk cId="3173973612" sldId="578"/>
            <ac:grpSpMk id="6" creationId="{73718DE3-08E3-45C4-B79F-432E2E5A5D21}"/>
          </ac:grpSpMkLst>
        </pc:grpChg>
        <pc:grpChg chg="mod topLvl">
          <ac:chgData name="Hillard, Laura" userId="fb6b425a-e8d9-473f-bcd9-e45358f5bb1d" providerId="ADAL" clId="{1850EE33-FACB-45CA-9D83-F68ECF18DDFD}" dt="2023-06-28T14:43:19.975" v="0" actId="165"/>
          <ac:grpSpMkLst>
            <pc:docMk/>
            <pc:sldMk cId="3173973612" sldId="578"/>
            <ac:grpSpMk id="7" creationId="{A68FE82A-19FB-490A-991E-5F55000644BD}"/>
          </ac:grpSpMkLst>
        </pc:grpChg>
        <pc:grpChg chg="mod topLvl">
          <ac:chgData name="Hillard, Laura" userId="fb6b425a-e8d9-473f-bcd9-e45358f5bb1d" providerId="ADAL" clId="{1850EE33-FACB-45CA-9D83-F68ECF18DDFD}" dt="2023-06-28T14:43:19.975" v="0" actId="165"/>
          <ac:grpSpMkLst>
            <pc:docMk/>
            <pc:sldMk cId="3173973612" sldId="578"/>
            <ac:grpSpMk id="8" creationId="{B87F0722-7619-42F1-BF4C-BE9B68CFE56C}"/>
          </ac:grpSpMkLst>
        </pc:grpChg>
        <pc:grpChg chg="mod topLvl">
          <ac:chgData name="Hillard, Laura" userId="fb6b425a-e8d9-473f-bcd9-e45358f5bb1d" providerId="ADAL" clId="{1850EE33-FACB-45CA-9D83-F68ECF18DDFD}" dt="2023-06-28T14:43:19.975" v="0" actId="165"/>
          <ac:grpSpMkLst>
            <pc:docMk/>
            <pc:sldMk cId="3173973612" sldId="578"/>
            <ac:grpSpMk id="11" creationId="{AEDD0C4F-AC40-49A8-B838-12615EF6D4A3}"/>
          </ac:grpSpMkLst>
        </pc:grpChg>
        <pc:grpChg chg="del">
          <ac:chgData name="Hillard, Laura" userId="fb6b425a-e8d9-473f-bcd9-e45358f5bb1d" providerId="ADAL" clId="{1850EE33-FACB-45CA-9D83-F68ECF18DDFD}" dt="2023-06-28T14:43:19.975" v="0" actId="165"/>
          <ac:grpSpMkLst>
            <pc:docMk/>
            <pc:sldMk cId="3173973612" sldId="578"/>
            <ac:grpSpMk id="13" creationId="{7A06CE68-32E9-4CBE-A04B-232829947555}"/>
          </ac:grpSpMkLst>
        </pc:grpChg>
        <pc:picChg chg="mod">
          <ac:chgData name="Hillard, Laura" userId="fb6b425a-e8d9-473f-bcd9-e45358f5bb1d" providerId="ADAL" clId="{1850EE33-FACB-45CA-9D83-F68ECF18DDFD}" dt="2023-06-28T14:43:19.975" v="0" actId="165"/>
          <ac:picMkLst>
            <pc:docMk/>
            <pc:sldMk cId="3173973612" sldId="578"/>
            <ac:picMk id="3" creationId="{B82374AA-779E-4C6C-8CE7-FC59FEDBBBBE}"/>
          </ac:picMkLst>
        </pc:picChg>
        <pc:picChg chg="mod">
          <ac:chgData name="Hillard, Laura" userId="fb6b425a-e8d9-473f-bcd9-e45358f5bb1d" providerId="ADAL" clId="{1850EE33-FACB-45CA-9D83-F68ECF18DDFD}" dt="2023-06-28T14:43:19.975" v="0" actId="165"/>
          <ac:picMkLst>
            <pc:docMk/>
            <pc:sldMk cId="3173973612" sldId="578"/>
            <ac:picMk id="5" creationId="{289FDAAF-139A-430E-A315-C71B7B0FCB5A}"/>
          </ac:picMkLst>
        </pc:picChg>
        <pc:picChg chg="mod">
          <ac:chgData name="Hillard, Laura" userId="fb6b425a-e8d9-473f-bcd9-e45358f5bb1d" providerId="ADAL" clId="{1850EE33-FACB-45CA-9D83-F68ECF18DDFD}" dt="2023-06-28T14:43:19.975" v="0" actId="165"/>
          <ac:picMkLst>
            <pc:docMk/>
            <pc:sldMk cId="3173973612" sldId="578"/>
            <ac:picMk id="10" creationId="{7E11FD5F-511F-4C26-A78A-486680E740E8}"/>
          </ac:picMkLst>
        </pc:picChg>
        <pc:picChg chg="mod">
          <ac:chgData name="Hillard, Laura" userId="fb6b425a-e8d9-473f-bcd9-e45358f5bb1d" providerId="ADAL" clId="{1850EE33-FACB-45CA-9D83-F68ECF18DDFD}" dt="2023-06-28T14:43:19.975" v="0" actId="165"/>
          <ac:picMkLst>
            <pc:docMk/>
            <pc:sldMk cId="3173973612" sldId="578"/>
            <ac:picMk id="15" creationId="{E907E58B-F79D-4CD2-9D10-87F5D3A2351C}"/>
          </ac:picMkLst>
        </pc:picChg>
      </pc:sldChg>
    </pc:docChg>
  </pc:docChgLst>
  <pc:docChgLst>
    <pc:chgData name="Wong, Alyssa" userId="80601413-c4b2-43cf-bfa4-9deab8bc0ad4" providerId="ADAL" clId="{FC0F3564-909F-4E85-A869-081C389E7D24}"/>
    <pc:docChg chg="undo custSel addSld delSld modSld sldOrd delMainMaster modSection">
      <pc:chgData name="Wong, Alyssa" userId="80601413-c4b2-43cf-bfa4-9deab8bc0ad4" providerId="ADAL" clId="{FC0F3564-909F-4E85-A869-081C389E7D24}" dt="2024-01-08T20:51:25.102" v="3583" actId="20577"/>
      <pc:docMkLst>
        <pc:docMk/>
      </pc:docMkLst>
      <pc:sldChg chg="del">
        <pc:chgData name="Wong, Alyssa" userId="80601413-c4b2-43cf-bfa4-9deab8bc0ad4" providerId="ADAL" clId="{FC0F3564-909F-4E85-A869-081C389E7D24}" dt="2024-01-02T16:58:15.075" v="59" actId="47"/>
        <pc:sldMkLst>
          <pc:docMk/>
          <pc:sldMk cId="3343008579" sldId="296"/>
        </pc:sldMkLst>
      </pc:sldChg>
      <pc:sldChg chg="del">
        <pc:chgData name="Wong, Alyssa" userId="80601413-c4b2-43cf-bfa4-9deab8bc0ad4" providerId="ADAL" clId="{FC0F3564-909F-4E85-A869-081C389E7D24}" dt="2024-01-02T16:58:18.460" v="60" actId="47"/>
        <pc:sldMkLst>
          <pc:docMk/>
          <pc:sldMk cId="514157237" sldId="444"/>
        </pc:sldMkLst>
      </pc:sldChg>
      <pc:sldChg chg="del">
        <pc:chgData name="Wong, Alyssa" userId="80601413-c4b2-43cf-bfa4-9deab8bc0ad4" providerId="ADAL" clId="{FC0F3564-909F-4E85-A869-081C389E7D24}" dt="2024-01-02T16:58:15.075" v="59" actId="47"/>
        <pc:sldMkLst>
          <pc:docMk/>
          <pc:sldMk cId="1758998386" sldId="445"/>
        </pc:sldMkLst>
      </pc:sldChg>
      <pc:sldChg chg="del">
        <pc:chgData name="Wong, Alyssa" userId="80601413-c4b2-43cf-bfa4-9deab8bc0ad4" providerId="ADAL" clId="{FC0F3564-909F-4E85-A869-081C389E7D24}" dt="2024-01-02T16:58:15.075" v="59" actId="47"/>
        <pc:sldMkLst>
          <pc:docMk/>
          <pc:sldMk cId="2698675550" sldId="3567"/>
        </pc:sldMkLst>
      </pc:sldChg>
      <pc:sldChg chg="del">
        <pc:chgData name="Wong, Alyssa" userId="80601413-c4b2-43cf-bfa4-9deab8bc0ad4" providerId="ADAL" clId="{FC0F3564-909F-4E85-A869-081C389E7D24}" dt="2024-01-02T16:58:15.075" v="59" actId="47"/>
        <pc:sldMkLst>
          <pc:docMk/>
          <pc:sldMk cId="232003018" sldId="3568"/>
        </pc:sldMkLst>
      </pc:sldChg>
      <pc:sldChg chg="del">
        <pc:chgData name="Wong, Alyssa" userId="80601413-c4b2-43cf-bfa4-9deab8bc0ad4" providerId="ADAL" clId="{FC0F3564-909F-4E85-A869-081C389E7D24}" dt="2024-01-02T16:58:15.075" v="59" actId="47"/>
        <pc:sldMkLst>
          <pc:docMk/>
          <pc:sldMk cId="253546219" sldId="3569"/>
        </pc:sldMkLst>
      </pc:sldChg>
      <pc:sldChg chg="del">
        <pc:chgData name="Wong, Alyssa" userId="80601413-c4b2-43cf-bfa4-9deab8bc0ad4" providerId="ADAL" clId="{FC0F3564-909F-4E85-A869-081C389E7D24}" dt="2024-01-02T16:58:15.075" v="59" actId="47"/>
        <pc:sldMkLst>
          <pc:docMk/>
          <pc:sldMk cId="3808998771" sldId="3570"/>
        </pc:sldMkLst>
      </pc:sldChg>
      <pc:sldChg chg="del">
        <pc:chgData name="Wong, Alyssa" userId="80601413-c4b2-43cf-bfa4-9deab8bc0ad4" providerId="ADAL" clId="{FC0F3564-909F-4E85-A869-081C389E7D24}" dt="2024-01-02T19:21:20.032" v="1065" actId="47"/>
        <pc:sldMkLst>
          <pc:docMk/>
          <pc:sldMk cId="2618963904" sldId="2147309661"/>
        </pc:sldMkLst>
      </pc:sldChg>
      <pc:sldChg chg="modSp mod">
        <pc:chgData name="Wong, Alyssa" userId="80601413-c4b2-43cf-bfa4-9deab8bc0ad4" providerId="ADAL" clId="{FC0F3564-909F-4E85-A869-081C389E7D24}" dt="2024-01-02T16:56:53.094" v="12" actId="20577"/>
        <pc:sldMkLst>
          <pc:docMk/>
          <pc:sldMk cId="890227972" sldId="2147309685"/>
        </pc:sldMkLst>
        <pc:spChg chg="mod">
          <ac:chgData name="Wong, Alyssa" userId="80601413-c4b2-43cf-bfa4-9deab8bc0ad4" providerId="ADAL" clId="{FC0F3564-909F-4E85-A869-081C389E7D24}" dt="2024-01-02T16:56:53.094" v="12" actId="20577"/>
          <ac:spMkLst>
            <pc:docMk/>
            <pc:sldMk cId="890227972" sldId="2147309685"/>
            <ac:spMk id="4" creationId="{FDD404E2-CC8D-4600-A159-7D553546ACF7}"/>
          </ac:spMkLst>
        </pc:spChg>
      </pc:sldChg>
      <pc:sldChg chg="del">
        <pc:chgData name="Wong, Alyssa" userId="80601413-c4b2-43cf-bfa4-9deab8bc0ad4" providerId="ADAL" clId="{FC0F3564-909F-4E85-A869-081C389E7D24}" dt="2024-01-02T16:57:18.814" v="16" actId="47"/>
        <pc:sldMkLst>
          <pc:docMk/>
          <pc:sldMk cId="2360244395" sldId="2147309686"/>
        </pc:sldMkLst>
      </pc:sldChg>
      <pc:sldChg chg="modSp">
        <pc:chgData name="Wong, Alyssa" userId="80601413-c4b2-43cf-bfa4-9deab8bc0ad4" providerId="ADAL" clId="{FC0F3564-909F-4E85-A869-081C389E7D24}" dt="2024-01-02T22:03:51.343" v="1642"/>
        <pc:sldMkLst>
          <pc:docMk/>
          <pc:sldMk cId="677951991" sldId="2147309697"/>
        </pc:sldMkLst>
        <pc:spChg chg="mod">
          <ac:chgData name="Wong, Alyssa" userId="80601413-c4b2-43cf-bfa4-9deab8bc0ad4" providerId="ADAL" clId="{FC0F3564-909F-4E85-A869-081C389E7D24}" dt="2024-01-02T22:03:51.343" v="1642"/>
          <ac:spMkLst>
            <pc:docMk/>
            <pc:sldMk cId="677951991" sldId="2147309697"/>
            <ac:spMk id="2" creationId="{E31C8478-7D18-41B8-9A20-A924C2131689}"/>
          </ac:spMkLst>
        </pc:spChg>
      </pc:sldChg>
      <pc:sldChg chg="del">
        <pc:chgData name="Wong, Alyssa" userId="80601413-c4b2-43cf-bfa4-9deab8bc0ad4" providerId="ADAL" clId="{FC0F3564-909F-4E85-A869-081C389E7D24}" dt="2024-01-02T16:57:48.810" v="48" actId="47"/>
        <pc:sldMkLst>
          <pc:docMk/>
          <pc:sldMk cId="938788667" sldId="2147309703"/>
        </pc:sldMkLst>
      </pc:sldChg>
      <pc:sldChg chg="del">
        <pc:chgData name="Wong, Alyssa" userId="80601413-c4b2-43cf-bfa4-9deab8bc0ad4" providerId="ADAL" clId="{FC0F3564-909F-4E85-A869-081C389E7D24}" dt="2024-01-02T16:57:52.205" v="49" actId="47"/>
        <pc:sldMkLst>
          <pc:docMk/>
          <pc:sldMk cId="1828394453" sldId="2147309720"/>
        </pc:sldMkLst>
      </pc:sldChg>
      <pc:sldChg chg="del">
        <pc:chgData name="Wong, Alyssa" userId="80601413-c4b2-43cf-bfa4-9deab8bc0ad4" providerId="ADAL" clId="{FC0F3564-909F-4E85-A869-081C389E7D24}" dt="2024-01-02T16:57:48.810" v="48" actId="47"/>
        <pc:sldMkLst>
          <pc:docMk/>
          <pc:sldMk cId="103226455" sldId="2147472280"/>
        </pc:sldMkLst>
      </pc:sldChg>
      <pc:sldChg chg="del">
        <pc:chgData name="Wong, Alyssa" userId="80601413-c4b2-43cf-bfa4-9deab8bc0ad4" providerId="ADAL" clId="{FC0F3564-909F-4E85-A869-081C389E7D24}" dt="2024-01-02T16:57:52.205" v="49" actId="47"/>
        <pc:sldMkLst>
          <pc:docMk/>
          <pc:sldMk cId="1044946537" sldId="2147472287"/>
        </pc:sldMkLst>
      </pc:sldChg>
      <pc:sldChg chg="del">
        <pc:chgData name="Wong, Alyssa" userId="80601413-c4b2-43cf-bfa4-9deab8bc0ad4" providerId="ADAL" clId="{FC0F3564-909F-4E85-A869-081C389E7D24}" dt="2024-01-02T16:58:05.764" v="58" actId="47"/>
        <pc:sldMkLst>
          <pc:docMk/>
          <pc:sldMk cId="3135305435" sldId="2147472288"/>
        </pc:sldMkLst>
      </pc:sldChg>
      <pc:sldChg chg="del">
        <pc:chgData name="Wong, Alyssa" userId="80601413-c4b2-43cf-bfa4-9deab8bc0ad4" providerId="ADAL" clId="{FC0F3564-909F-4E85-A869-081C389E7D24}" dt="2024-01-02T21:35:46.582" v="1584" actId="47"/>
        <pc:sldMkLst>
          <pc:docMk/>
          <pc:sldMk cId="1131847090" sldId="2147472289"/>
        </pc:sldMkLst>
      </pc:sldChg>
      <pc:sldChg chg="del">
        <pc:chgData name="Wong, Alyssa" userId="80601413-c4b2-43cf-bfa4-9deab8bc0ad4" providerId="ADAL" clId="{FC0F3564-909F-4E85-A869-081C389E7D24}" dt="2024-01-02T16:58:15.075" v="59" actId="47"/>
        <pc:sldMkLst>
          <pc:docMk/>
          <pc:sldMk cId="3675984277" sldId="2147472290"/>
        </pc:sldMkLst>
      </pc:sldChg>
      <pc:sldChg chg="del">
        <pc:chgData name="Wong, Alyssa" userId="80601413-c4b2-43cf-bfa4-9deab8bc0ad4" providerId="ADAL" clId="{FC0F3564-909F-4E85-A869-081C389E7D24}" dt="2024-01-02T16:58:01.893" v="57" actId="47"/>
        <pc:sldMkLst>
          <pc:docMk/>
          <pc:sldMk cId="81513845" sldId="2147472307"/>
        </pc:sldMkLst>
      </pc:sldChg>
      <pc:sldChg chg="del">
        <pc:chgData name="Wong, Alyssa" userId="80601413-c4b2-43cf-bfa4-9deab8bc0ad4" providerId="ADAL" clId="{FC0F3564-909F-4E85-A869-081C389E7D24}" dt="2024-01-02T16:58:05.764" v="58" actId="47"/>
        <pc:sldMkLst>
          <pc:docMk/>
          <pc:sldMk cId="4086239096" sldId="2147472309"/>
        </pc:sldMkLst>
      </pc:sldChg>
      <pc:sldChg chg="modSp mod">
        <pc:chgData name="Wong, Alyssa" userId="80601413-c4b2-43cf-bfa4-9deab8bc0ad4" providerId="ADAL" clId="{FC0F3564-909F-4E85-A869-081C389E7D24}" dt="2024-01-03T14:22:05.662" v="1754" actId="20577"/>
        <pc:sldMkLst>
          <pc:docMk/>
          <pc:sldMk cId="71924198" sldId="2147472310"/>
        </pc:sldMkLst>
        <pc:spChg chg="mod">
          <ac:chgData name="Wong, Alyssa" userId="80601413-c4b2-43cf-bfa4-9deab8bc0ad4" providerId="ADAL" clId="{FC0F3564-909F-4E85-A869-081C389E7D24}" dt="2024-01-02T22:03:51.343" v="1642"/>
          <ac:spMkLst>
            <pc:docMk/>
            <pc:sldMk cId="71924198" sldId="2147472310"/>
            <ac:spMk id="2" creationId="{E31C8478-7D18-41B8-9A20-A924C2131689}"/>
          </ac:spMkLst>
        </pc:spChg>
        <pc:spChg chg="mod">
          <ac:chgData name="Wong, Alyssa" userId="80601413-c4b2-43cf-bfa4-9deab8bc0ad4" providerId="ADAL" clId="{FC0F3564-909F-4E85-A869-081C389E7D24}" dt="2024-01-03T14:22:05.662" v="1754" actId="20577"/>
          <ac:spMkLst>
            <pc:docMk/>
            <pc:sldMk cId="71924198" sldId="2147472310"/>
            <ac:spMk id="3" creationId="{DBE128BB-F9C9-4D1E-8EF7-3A99EBCC7F36}"/>
          </ac:spMkLst>
        </pc:spChg>
      </pc:sldChg>
      <pc:sldChg chg="modSp mod delCm modCm">
        <pc:chgData name="Wong, Alyssa" userId="80601413-c4b2-43cf-bfa4-9deab8bc0ad4" providerId="ADAL" clId="{FC0F3564-909F-4E85-A869-081C389E7D24}" dt="2024-01-05T16:46:59.942" v="3308" actId="207"/>
        <pc:sldMkLst>
          <pc:docMk/>
          <pc:sldMk cId="3183095165" sldId="2147472311"/>
        </pc:sldMkLst>
        <pc:spChg chg="mod">
          <ac:chgData name="Wong, Alyssa" userId="80601413-c4b2-43cf-bfa4-9deab8bc0ad4" providerId="ADAL" clId="{FC0F3564-909F-4E85-A869-081C389E7D24}" dt="2024-01-02T22:03:51.343" v="1642"/>
          <ac:spMkLst>
            <pc:docMk/>
            <pc:sldMk cId="3183095165" sldId="2147472311"/>
            <ac:spMk id="2" creationId="{E31C8478-7D18-41B8-9A20-A924C2131689}"/>
          </ac:spMkLst>
        </pc:spChg>
        <pc:spChg chg="mod">
          <ac:chgData name="Wong, Alyssa" userId="80601413-c4b2-43cf-bfa4-9deab8bc0ad4" providerId="ADAL" clId="{FC0F3564-909F-4E85-A869-081C389E7D24}" dt="2024-01-05T16:46:59.942" v="3308" actId="207"/>
          <ac:spMkLst>
            <pc:docMk/>
            <pc:sldMk cId="3183095165" sldId="2147472311"/>
            <ac:spMk id="3" creationId="{DBE128BB-F9C9-4D1E-8EF7-3A99EBCC7F36}"/>
          </ac:spMkLst>
        </pc:spChg>
      </pc:sldChg>
      <pc:sldChg chg="modSp mod">
        <pc:chgData name="Wong, Alyssa" userId="80601413-c4b2-43cf-bfa4-9deab8bc0ad4" providerId="ADAL" clId="{FC0F3564-909F-4E85-A869-081C389E7D24}" dt="2024-01-02T22:03:51.343" v="1642"/>
        <pc:sldMkLst>
          <pc:docMk/>
          <pc:sldMk cId="3518672551" sldId="2147472312"/>
        </pc:sldMkLst>
        <pc:spChg chg="mod">
          <ac:chgData name="Wong, Alyssa" userId="80601413-c4b2-43cf-bfa4-9deab8bc0ad4" providerId="ADAL" clId="{FC0F3564-909F-4E85-A869-081C389E7D24}" dt="2024-01-02T22:03:51.343" v="1642"/>
          <ac:spMkLst>
            <pc:docMk/>
            <pc:sldMk cId="3518672551" sldId="2147472312"/>
            <ac:spMk id="2" creationId="{E31C8478-7D18-41B8-9A20-A924C2131689}"/>
          </ac:spMkLst>
        </pc:spChg>
        <pc:spChg chg="mod">
          <ac:chgData name="Wong, Alyssa" userId="80601413-c4b2-43cf-bfa4-9deab8bc0ad4" providerId="ADAL" clId="{FC0F3564-909F-4E85-A869-081C389E7D24}" dt="2024-01-02T16:57:41.236" v="47" actId="20577"/>
          <ac:spMkLst>
            <pc:docMk/>
            <pc:sldMk cId="3518672551" sldId="2147472312"/>
            <ac:spMk id="3" creationId="{DBE128BB-F9C9-4D1E-8EF7-3A99EBCC7F36}"/>
          </ac:spMkLst>
        </pc:spChg>
      </pc:sldChg>
      <pc:sldChg chg="addSp delSp modSp mod ord setBg delCm modCm">
        <pc:chgData name="Wong, Alyssa" userId="80601413-c4b2-43cf-bfa4-9deab8bc0ad4" providerId="ADAL" clId="{FC0F3564-909F-4E85-A869-081C389E7D24}" dt="2024-01-08T18:51:08.978" v="3414" actId="207"/>
        <pc:sldMkLst>
          <pc:docMk/>
          <pc:sldMk cId="402946131" sldId="2147472314"/>
        </pc:sldMkLst>
        <pc:spChg chg="mod ord">
          <ac:chgData name="Wong, Alyssa" userId="80601413-c4b2-43cf-bfa4-9deab8bc0ad4" providerId="ADAL" clId="{FC0F3564-909F-4E85-A869-081C389E7D24}" dt="2024-01-03T19:39:58.843" v="2674" actId="26606"/>
          <ac:spMkLst>
            <pc:docMk/>
            <pc:sldMk cId="402946131" sldId="2147472314"/>
            <ac:spMk id="2" creationId="{FEB35BAE-7ABE-4A71-9AB3-7CCD18270BCD}"/>
          </ac:spMkLst>
        </pc:spChg>
        <pc:spChg chg="mod">
          <ac:chgData name="Wong, Alyssa" userId="80601413-c4b2-43cf-bfa4-9deab8bc0ad4" providerId="ADAL" clId="{FC0F3564-909F-4E85-A869-081C389E7D24}" dt="2024-01-05T16:39:59.572" v="3275" actId="20577"/>
          <ac:spMkLst>
            <pc:docMk/>
            <pc:sldMk cId="402946131" sldId="2147472314"/>
            <ac:spMk id="3" creationId="{802F4057-D21A-82FD-C579-A946465549FD}"/>
          </ac:spMkLst>
        </pc:spChg>
        <pc:spChg chg="add del mod">
          <ac:chgData name="Wong, Alyssa" userId="80601413-c4b2-43cf-bfa4-9deab8bc0ad4" providerId="ADAL" clId="{FC0F3564-909F-4E85-A869-081C389E7D24}" dt="2024-01-03T19:42:16.580" v="2702" actId="478"/>
          <ac:spMkLst>
            <pc:docMk/>
            <pc:sldMk cId="402946131" sldId="2147472314"/>
            <ac:spMk id="5" creationId="{A0E9F7E5-F54C-B3A5-D6B9-B0C7F3601322}"/>
          </ac:spMkLst>
        </pc:spChg>
        <pc:spChg chg="add mod">
          <ac:chgData name="Wong, Alyssa" userId="80601413-c4b2-43cf-bfa4-9deab8bc0ad4" providerId="ADAL" clId="{FC0F3564-909F-4E85-A869-081C389E7D24}" dt="2024-01-03T19:42:17.089" v="2703"/>
          <ac:spMkLst>
            <pc:docMk/>
            <pc:sldMk cId="402946131" sldId="2147472314"/>
            <ac:spMk id="7" creationId="{8C33347B-40DD-EEB0-5F6D-1F64A1D804E9}"/>
          </ac:spMkLst>
        </pc:spChg>
        <pc:spChg chg="mod">
          <ac:chgData name="Wong, Alyssa" userId="80601413-c4b2-43cf-bfa4-9deab8bc0ad4" providerId="ADAL" clId="{FC0F3564-909F-4E85-A869-081C389E7D24}" dt="2024-01-03T19:39:58.843" v="2674" actId="26606"/>
          <ac:spMkLst>
            <pc:docMk/>
            <pc:sldMk cId="402946131" sldId="2147472314"/>
            <ac:spMk id="24" creationId="{964923DB-2256-419B-A063-3239D1FC888E}"/>
          </ac:spMkLst>
        </pc:spChg>
        <pc:spChg chg="add del">
          <ac:chgData name="Wong, Alyssa" userId="80601413-c4b2-43cf-bfa4-9deab8bc0ad4" providerId="ADAL" clId="{FC0F3564-909F-4E85-A869-081C389E7D24}" dt="2024-01-03T19:39:58.843" v="2674" actId="26606"/>
          <ac:spMkLst>
            <pc:docMk/>
            <pc:sldMk cId="402946131" sldId="2147472314"/>
            <ac:spMk id="31" creationId="{D2B783EE-0239-4717-BBEA-8C9EAC61C824}"/>
          </ac:spMkLst>
        </pc:spChg>
        <pc:spChg chg="add del">
          <ac:chgData name="Wong, Alyssa" userId="80601413-c4b2-43cf-bfa4-9deab8bc0ad4" providerId="ADAL" clId="{FC0F3564-909F-4E85-A869-081C389E7D24}" dt="2024-01-03T19:39:58.843" v="2674" actId="26606"/>
          <ac:spMkLst>
            <pc:docMk/>
            <pc:sldMk cId="402946131" sldId="2147472314"/>
            <ac:spMk id="33" creationId="{A7B99495-F43F-4D80-A44F-2CB4764EB90B}"/>
          </ac:spMkLst>
        </pc:spChg>
        <pc:spChg chg="add del">
          <ac:chgData name="Wong, Alyssa" userId="80601413-c4b2-43cf-bfa4-9deab8bc0ad4" providerId="ADAL" clId="{FC0F3564-909F-4E85-A869-081C389E7D24}" dt="2024-01-03T19:39:58.843" v="2674" actId="26606"/>
          <ac:spMkLst>
            <pc:docMk/>
            <pc:sldMk cId="402946131" sldId="2147472314"/>
            <ac:spMk id="35" creationId="{70BEB1E7-2F88-40BC-B73D-42E5B6F80BFC}"/>
          </ac:spMkLst>
        </pc:spChg>
        <pc:picChg chg="add del mod">
          <ac:chgData name="Wong, Alyssa" userId="80601413-c4b2-43cf-bfa4-9deab8bc0ad4" providerId="ADAL" clId="{FC0F3564-909F-4E85-A869-081C389E7D24}" dt="2024-01-03T19:42:16.580" v="2702" actId="478"/>
          <ac:picMkLst>
            <pc:docMk/>
            <pc:sldMk cId="402946131" sldId="2147472314"/>
            <ac:picMk id="4" creationId="{6144A5E3-3A7C-C7CF-E691-A4E6C6DA1D1D}"/>
          </ac:picMkLst>
        </pc:picChg>
        <pc:picChg chg="add mod">
          <ac:chgData name="Wong, Alyssa" userId="80601413-c4b2-43cf-bfa4-9deab8bc0ad4" providerId="ADAL" clId="{FC0F3564-909F-4E85-A869-081C389E7D24}" dt="2024-01-03T20:07:43.094" v="2734" actId="1076"/>
          <ac:picMkLst>
            <pc:docMk/>
            <pc:sldMk cId="402946131" sldId="2147472314"/>
            <ac:picMk id="6" creationId="{40BFFC17-E4F6-166F-F7FD-C6B538F1F1AF}"/>
          </ac:picMkLst>
        </pc:picChg>
        <pc:picChg chg="add mod">
          <ac:chgData name="Wong, Alyssa" userId="80601413-c4b2-43cf-bfa4-9deab8bc0ad4" providerId="ADAL" clId="{FC0F3564-909F-4E85-A869-081C389E7D24}" dt="2024-01-08T18:51:08.978" v="3414" actId="207"/>
          <ac:picMkLst>
            <pc:docMk/>
            <pc:sldMk cId="402946131" sldId="2147472314"/>
            <ac:picMk id="9" creationId="{8A74B14F-749B-8CFE-D1F4-8C8C616D6F32}"/>
          </ac:picMkLst>
        </pc:picChg>
        <pc:picChg chg="mod ord">
          <ac:chgData name="Wong, Alyssa" userId="80601413-c4b2-43cf-bfa4-9deab8bc0ad4" providerId="ADAL" clId="{FC0F3564-909F-4E85-A869-081C389E7D24}" dt="2024-01-03T19:39:58.843" v="2674" actId="26606"/>
          <ac:picMkLst>
            <pc:docMk/>
            <pc:sldMk cId="402946131" sldId="2147472314"/>
            <ac:picMk id="26" creationId="{A2E44B7A-42C4-73C2-7C53-BABF50439C4F}"/>
          </ac:picMkLst>
        </pc:picChg>
      </pc:sldChg>
      <pc:sldChg chg="addSp delSp modSp del mod">
        <pc:chgData name="Wong, Alyssa" userId="80601413-c4b2-43cf-bfa4-9deab8bc0ad4" providerId="ADAL" clId="{FC0F3564-909F-4E85-A869-081C389E7D24}" dt="2024-01-02T21:35:46.582" v="1584" actId="47"/>
        <pc:sldMkLst>
          <pc:docMk/>
          <pc:sldMk cId="816121738" sldId="2147472315"/>
        </pc:sldMkLst>
        <pc:spChg chg="add del mod">
          <ac:chgData name="Wong, Alyssa" userId="80601413-c4b2-43cf-bfa4-9deab8bc0ad4" providerId="ADAL" clId="{FC0F3564-909F-4E85-A869-081C389E7D24}" dt="2024-01-02T19:18:57.139" v="1052" actId="478"/>
          <ac:spMkLst>
            <pc:docMk/>
            <pc:sldMk cId="816121738" sldId="2147472315"/>
            <ac:spMk id="7" creationId="{7530EA3E-6DD5-461D-C3EE-294365C4E205}"/>
          </ac:spMkLst>
        </pc:spChg>
        <pc:spChg chg="add del mod">
          <ac:chgData name="Wong, Alyssa" userId="80601413-c4b2-43cf-bfa4-9deab8bc0ad4" providerId="ADAL" clId="{FC0F3564-909F-4E85-A869-081C389E7D24}" dt="2024-01-02T19:19:04.952" v="1064" actId="20577"/>
          <ac:spMkLst>
            <pc:docMk/>
            <pc:sldMk cId="816121738" sldId="2147472315"/>
            <ac:spMk id="12" creationId="{7469E343-B5CC-62E4-2EBE-5A33718B97D9}"/>
          </ac:spMkLst>
        </pc:spChg>
      </pc:sldChg>
      <pc:sldChg chg="del">
        <pc:chgData name="Wong, Alyssa" userId="80601413-c4b2-43cf-bfa4-9deab8bc0ad4" providerId="ADAL" clId="{FC0F3564-909F-4E85-A869-081C389E7D24}" dt="2024-01-02T16:58:01.893" v="57" actId="47"/>
        <pc:sldMkLst>
          <pc:docMk/>
          <pc:sldMk cId="414280482" sldId="2147472316"/>
        </pc:sldMkLst>
      </pc:sldChg>
      <pc:sldChg chg="del">
        <pc:chgData name="Wong, Alyssa" userId="80601413-c4b2-43cf-bfa4-9deab8bc0ad4" providerId="ADAL" clId="{FC0F3564-909F-4E85-A869-081C389E7D24}" dt="2024-01-02T16:58:01.893" v="57" actId="47"/>
        <pc:sldMkLst>
          <pc:docMk/>
          <pc:sldMk cId="3435423304" sldId="2147472318"/>
        </pc:sldMkLst>
      </pc:sldChg>
      <pc:sldChg chg="del">
        <pc:chgData name="Wong, Alyssa" userId="80601413-c4b2-43cf-bfa4-9deab8bc0ad4" providerId="ADAL" clId="{FC0F3564-909F-4E85-A869-081C389E7D24}" dt="2024-01-02T16:58:18.460" v="60" actId="47"/>
        <pc:sldMkLst>
          <pc:docMk/>
          <pc:sldMk cId="4039916713" sldId="2147472319"/>
        </pc:sldMkLst>
      </pc:sldChg>
      <pc:sldChg chg="del">
        <pc:chgData name="Wong, Alyssa" userId="80601413-c4b2-43cf-bfa4-9deab8bc0ad4" providerId="ADAL" clId="{FC0F3564-909F-4E85-A869-081C389E7D24}" dt="2024-01-02T16:57:48.810" v="48" actId="47"/>
        <pc:sldMkLst>
          <pc:docMk/>
          <pc:sldMk cId="737233286" sldId="2147472320"/>
        </pc:sldMkLst>
      </pc:sldChg>
      <pc:sldChg chg="addSp delSp modSp mod ord addCm delCm modCm">
        <pc:chgData name="Wong, Alyssa" userId="80601413-c4b2-43cf-bfa4-9deab8bc0ad4" providerId="ADAL" clId="{FC0F3564-909F-4E85-A869-081C389E7D24}" dt="2024-01-05T15:09:07.165" v="3246" actId="20577"/>
        <pc:sldMkLst>
          <pc:docMk/>
          <pc:sldMk cId="1747163129" sldId="2147472321"/>
        </pc:sldMkLst>
        <pc:graphicFrameChg chg="mod modGraphic">
          <ac:chgData name="Wong, Alyssa" userId="80601413-c4b2-43cf-bfa4-9deab8bc0ad4" providerId="ADAL" clId="{FC0F3564-909F-4E85-A869-081C389E7D24}" dt="2024-01-05T15:09:07.165" v="3246" actId="20577"/>
          <ac:graphicFrameMkLst>
            <pc:docMk/>
            <pc:sldMk cId="1747163129" sldId="2147472321"/>
            <ac:graphicFrameMk id="7" creationId="{35343B6B-F316-AF44-15BA-D997EB73C379}"/>
          </ac:graphicFrameMkLst>
        </pc:graphicFrameChg>
        <pc:picChg chg="add del mod">
          <ac:chgData name="Wong, Alyssa" userId="80601413-c4b2-43cf-bfa4-9deab8bc0ad4" providerId="ADAL" clId="{FC0F3564-909F-4E85-A869-081C389E7D24}" dt="2024-01-03T19:20:19.127" v="2657" actId="931"/>
          <ac:picMkLst>
            <pc:docMk/>
            <pc:sldMk cId="1747163129" sldId="2147472321"/>
            <ac:picMk id="4" creationId="{B9435A21-D4C0-42E0-95A2-0DEBF0AB177C}"/>
          </ac:picMkLst>
        </pc:picChg>
        <pc:picChg chg="add del mod">
          <ac:chgData name="Wong, Alyssa" userId="80601413-c4b2-43cf-bfa4-9deab8bc0ad4" providerId="ADAL" clId="{FC0F3564-909F-4E85-A869-081C389E7D24}" dt="2024-01-03T19:38:54.776" v="2671" actId="14826"/>
          <ac:picMkLst>
            <pc:docMk/>
            <pc:sldMk cId="1747163129" sldId="2147472321"/>
            <ac:picMk id="5" creationId="{A2185EA8-FE18-90CF-100A-40230E9654D8}"/>
          </ac:picMkLst>
        </pc:picChg>
        <pc:picChg chg="add del mod">
          <ac:chgData name="Wong, Alyssa" userId="80601413-c4b2-43cf-bfa4-9deab8bc0ad4" providerId="ADAL" clId="{FC0F3564-909F-4E85-A869-081C389E7D24}" dt="2024-01-03T19:20:57.282" v="2661" actId="478"/>
          <ac:picMkLst>
            <pc:docMk/>
            <pc:sldMk cId="1747163129" sldId="2147472321"/>
            <ac:picMk id="8" creationId="{E6F3B6A3-A22C-19B0-35AB-89D99C1B56E9}"/>
          </ac:picMkLst>
        </pc:picChg>
        <pc:picChg chg="add del mod">
          <ac:chgData name="Wong, Alyssa" userId="80601413-c4b2-43cf-bfa4-9deab8bc0ad4" providerId="ADAL" clId="{FC0F3564-909F-4E85-A869-081C389E7D24}" dt="2024-01-03T19:38:51.052" v="2670" actId="478"/>
          <ac:picMkLst>
            <pc:docMk/>
            <pc:sldMk cId="1747163129" sldId="2147472321"/>
            <ac:picMk id="11" creationId="{0EDDF969-17C9-CA79-D19B-A010F127936D}"/>
          </ac:picMkLst>
        </pc:picChg>
      </pc:sldChg>
      <pc:sldChg chg="del">
        <pc:chgData name="Wong, Alyssa" userId="80601413-c4b2-43cf-bfa4-9deab8bc0ad4" providerId="ADAL" clId="{FC0F3564-909F-4E85-A869-081C389E7D24}" dt="2024-01-02T16:57:01.987" v="14" actId="47"/>
        <pc:sldMkLst>
          <pc:docMk/>
          <pc:sldMk cId="1596833832" sldId="2147472323"/>
        </pc:sldMkLst>
      </pc:sldChg>
      <pc:sldChg chg="del">
        <pc:chgData name="Wong, Alyssa" userId="80601413-c4b2-43cf-bfa4-9deab8bc0ad4" providerId="ADAL" clId="{FC0F3564-909F-4E85-A869-081C389E7D24}" dt="2024-01-02T16:58:01.893" v="57" actId="47"/>
        <pc:sldMkLst>
          <pc:docMk/>
          <pc:sldMk cId="2194583067" sldId="2147472326"/>
        </pc:sldMkLst>
      </pc:sldChg>
      <pc:sldChg chg="del">
        <pc:chgData name="Wong, Alyssa" userId="80601413-c4b2-43cf-bfa4-9deab8bc0ad4" providerId="ADAL" clId="{FC0F3564-909F-4E85-A869-081C389E7D24}" dt="2024-01-02T16:57:48.810" v="48" actId="47"/>
        <pc:sldMkLst>
          <pc:docMk/>
          <pc:sldMk cId="3759578668" sldId="2147472327"/>
        </pc:sldMkLst>
      </pc:sldChg>
      <pc:sldChg chg="del">
        <pc:chgData name="Wong, Alyssa" userId="80601413-c4b2-43cf-bfa4-9deab8bc0ad4" providerId="ADAL" clId="{FC0F3564-909F-4E85-A869-081C389E7D24}" dt="2024-01-02T16:57:01.987" v="14" actId="47"/>
        <pc:sldMkLst>
          <pc:docMk/>
          <pc:sldMk cId="1154993897" sldId="2147472328"/>
        </pc:sldMkLst>
      </pc:sldChg>
      <pc:sldChg chg="addSp delSp modSp add mod delCm modCm">
        <pc:chgData name="Wong, Alyssa" userId="80601413-c4b2-43cf-bfa4-9deab8bc0ad4" providerId="ADAL" clId="{FC0F3564-909F-4E85-A869-081C389E7D24}" dt="2024-01-03T18:52:48.683" v="2645"/>
        <pc:sldMkLst>
          <pc:docMk/>
          <pc:sldMk cId="3718155455" sldId="2147472328"/>
        </pc:sldMkLst>
        <pc:spChg chg="mod">
          <ac:chgData name="Wong, Alyssa" userId="80601413-c4b2-43cf-bfa4-9deab8bc0ad4" providerId="ADAL" clId="{FC0F3564-909F-4E85-A869-081C389E7D24}" dt="2024-01-02T22:03:51.343" v="1642"/>
          <ac:spMkLst>
            <pc:docMk/>
            <pc:sldMk cId="3718155455" sldId="2147472328"/>
            <ac:spMk id="2" creationId="{FEB35BAE-7ABE-4A71-9AB3-7CCD18270BCD}"/>
          </ac:spMkLst>
        </pc:spChg>
        <pc:spChg chg="mod">
          <ac:chgData name="Wong, Alyssa" userId="80601413-c4b2-43cf-bfa4-9deab8bc0ad4" providerId="ADAL" clId="{FC0F3564-909F-4E85-A869-081C389E7D24}" dt="2024-01-03T18:52:43.190" v="2644" actId="20577"/>
          <ac:spMkLst>
            <pc:docMk/>
            <pc:sldMk cId="3718155455" sldId="2147472328"/>
            <ac:spMk id="3" creationId="{1ABEB552-FC05-4726-8630-22111FC75C23}"/>
          </ac:spMkLst>
        </pc:spChg>
        <pc:spChg chg="add del">
          <ac:chgData name="Wong, Alyssa" userId="80601413-c4b2-43cf-bfa4-9deab8bc0ad4" providerId="ADAL" clId="{FC0F3564-909F-4E85-A869-081C389E7D24}" dt="2024-01-03T14:32:17.838" v="1760" actId="22"/>
          <ac:spMkLst>
            <pc:docMk/>
            <pc:sldMk cId="3718155455" sldId="2147472328"/>
            <ac:spMk id="17" creationId="{C9839F78-B047-061C-767C-137EDBF5765B}"/>
          </ac:spMkLst>
        </pc:spChg>
        <pc:spChg chg="mod">
          <ac:chgData name="Wong, Alyssa" userId="80601413-c4b2-43cf-bfa4-9deab8bc0ad4" providerId="ADAL" clId="{FC0F3564-909F-4E85-A869-081C389E7D24}" dt="2024-01-03T14:32:33.827" v="1762"/>
          <ac:spMkLst>
            <pc:docMk/>
            <pc:sldMk cId="3718155455" sldId="2147472328"/>
            <ac:spMk id="19" creationId="{417EFE47-2C58-D7EA-B283-B8CE0E1EAF9D}"/>
          </ac:spMkLst>
        </pc:spChg>
        <pc:spChg chg="mod">
          <ac:chgData name="Wong, Alyssa" userId="80601413-c4b2-43cf-bfa4-9deab8bc0ad4" providerId="ADAL" clId="{FC0F3564-909F-4E85-A869-081C389E7D24}" dt="2024-01-03T17:38:22.037" v="1814" actId="20577"/>
          <ac:spMkLst>
            <pc:docMk/>
            <pc:sldMk cId="3718155455" sldId="2147472328"/>
            <ac:spMk id="22" creationId="{8E87DE34-01F2-4ECD-91AE-EE49BB31015D}"/>
          </ac:spMkLst>
        </pc:spChg>
        <pc:spChg chg="mod">
          <ac:chgData name="Wong, Alyssa" userId="80601413-c4b2-43cf-bfa4-9deab8bc0ad4" providerId="ADAL" clId="{FC0F3564-909F-4E85-A869-081C389E7D24}" dt="2024-01-03T17:38:16.494" v="1803"/>
          <ac:spMkLst>
            <pc:docMk/>
            <pc:sldMk cId="3718155455" sldId="2147472328"/>
            <ac:spMk id="26" creationId="{C09AC09E-0211-6AA6-A7EE-F1CF03E90880}"/>
          </ac:spMkLst>
        </pc:spChg>
        <pc:spChg chg="mod">
          <ac:chgData name="Wong, Alyssa" userId="80601413-c4b2-43cf-bfa4-9deab8bc0ad4" providerId="ADAL" clId="{FC0F3564-909F-4E85-A869-081C389E7D24}" dt="2024-01-03T14:32:33.827" v="1762"/>
          <ac:spMkLst>
            <pc:docMk/>
            <pc:sldMk cId="3718155455" sldId="2147472328"/>
            <ac:spMk id="29" creationId="{A9A62A9A-0D15-2210-B0DB-2EF48B178557}"/>
          </ac:spMkLst>
        </pc:spChg>
        <pc:spChg chg="mod">
          <ac:chgData name="Wong, Alyssa" userId="80601413-c4b2-43cf-bfa4-9deab8bc0ad4" providerId="ADAL" clId="{FC0F3564-909F-4E85-A869-081C389E7D24}" dt="2024-01-03T14:32:33.827" v="1762"/>
          <ac:spMkLst>
            <pc:docMk/>
            <pc:sldMk cId="3718155455" sldId="2147472328"/>
            <ac:spMk id="30" creationId="{77EDFF8D-1EF6-98A4-B71B-760476B2FD5F}"/>
          </ac:spMkLst>
        </pc:spChg>
        <pc:grpChg chg="del">
          <ac:chgData name="Wong, Alyssa" userId="80601413-c4b2-43cf-bfa4-9deab8bc0ad4" providerId="ADAL" clId="{FC0F3564-909F-4E85-A869-081C389E7D24}" dt="2024-01-03T14:32:33.326" v="1761" actId="478"/>
          <ac:grpSpMkLst>
            <pc:docMk/>
            <pc:sldMk cId="3718155455" sldId="2147472328"/>
            <ac:grpSpMk id="12" creationId="{175ADA4B-FE16-45FC-A00A-5FE7324AB612}"/>
          </ac:grpSpMkLst>
        </pc:grpChg>
        <pc:grpChg chg="add mod">
          <ac:chgData name="Wong, Alyssa" userId="80601413-c4b2-43cf-bfa4-9deab8bc0ad4" providerId="ADAL" clId="{FC0F3564-909F-4E85-A869-081C389E7D24}" dt="2024-01-03T14:32:33.827" v="1762"/>
          <ac:grpSpMkLst>
            <pc:docMk/>
            <pc:sldMk cId="3718155455" sldId="2147472328"/>
            <ac:grpSpMk id="18" creationId="{3136F1D7-3FB5-43F9-3767-82C4CB82490E}"/>
          </ac:grpSpMkLst>
        </pc:grpChg>
        <pc:grpChg chg="add mod">
          <ac:chgData name="Wong, Alyssa" userId="80601413-c4b2-43cf-bfa4-9deab8bc0ad4" providerId="ADAL" clId="{FC0F3564-909F-4E85-A869-081C389E7D24}" dt="2024-01-03T14:32:33.827" v="1762"/>
          <ac:grpSpMkLst>
            <pc:docMk/>
            <pc:sldMk cId="3718155455" sldId="2147472328"/>
            <ac:grpSpMk id="28" creationId="{F9559EE3-7158-801F-F5A6-5B14FFB9285A}"/>
          </ac:grpSpMkLst>
        </pc:grpChg>
        <pc:cxnChg chg="mod">
          <ac:chgData name="Wong, Alyssa" userId="80601413-c4b2-43cf-bfa4-9deab8bc0ad4" providerId="ADAL" clId="{FC0F3564-909F-4E85-A869-081C389E7D24}" dt="2024-01-03T14:32:33.827" v="1762"/>
          <ac:cxnSpMkLst>
            <pc:docMk/>
            <pc:sldMk cId="3718155455" sldId="2147472328"/>
            <ac:cxnSpMk id="27" creationId="{56207B8D-E68C-5920-9C70-E9870C8EBC19}"/>
          </ac:cxnSpMkLst>
        </pc:cxnChg>
        <pc:cxnChg chg="mod">
          <ac:chgData name="Wong, Alyssa" userId="80601413-c4b2-43cf-bfa4-9deab8bc0ad4" providerId="ADAL" clId="{FC0F3564-909F-4E85-A869-081C389E7D24}" dt="2024-01-03T14:32:33.827" v="1762"/>
          <ac:cxnSpMkLst>
            <pc:docMk/>
            <pc:sldMk cId="3718155455" sldId="2147472328"/>
            <ac:cxnSpMk id="31" creationId="{9172DA74-9363-D621-BF2A-E4601FA74F4D}"/>
          </ac:cxnSpMkLst>
        </pc:cxnChg>
      </pc:sldChg>
      <pc:sldChg chg="del">
        <pc:chgData name="Wong, Alyssa" userId="80601413-c4b2-43cf-bfa4-9deab8bc0ad4" providerId="ADAL" clId="{FC0F3564-909F-4E85-A869-081C389E7D24}" dt="2024-01-02T16:56:58.997" v="13" actId="47"/>
        <pc:sldMkLst>
          <pc:docMk/>
          <pc:sldMk cId="3654732494" sldId="2147472329"/>
        </pc:sldMkLst>
      </pc:sldChg>
      <pc:sldChg chg="addSp modSp add mod ord modTransition modShow modCm">
        <pc:chgData name="Wong, Alyssa" userId="80601413-c4b2-43cf-bfa4-9deab8bc0ad4" providerId="ADAL" clId="{FC0F3564-909F-4E85-A869-081C389E7D24}" dt="2024-01-08T18:50:12.408" v="3410" actId="729"/>
        <pc:sldMkLst>
          <pc:docMk/>
          <pc:sldMk cId="3714781665" sldId="2147472384"/>
        </pc:sldMkLst>
        <pc:spChg chg="add mod">
          <ac:chgData name="Wong, Alyssa" userId="80601413-c4b2-43cf-bfa4-9deab8bc0ad4" providerId="ADAL" clId="{FC0F3564-909F-4E85-A869-081C389E7D24}" dt="2024-01-03T20:10:18.979" v="2753" actId="1076"/>
          <ac:spMkLst>
            <pc:docMk/>
            <pc:sldMk cId="3714781665" sldId="2147472384"/>
            <ac:spMk id="2" creationId="{A33EAA32-82C4-0F58-CEEF-B158BA47AD40}"/>
          </ac:spMkLst>
        </pc:spChg>
        <pc:spChg chg="mod">
          <ac:chgData name="Wong, Alyssa" userId="80601413-c4b2-43cf-bfa4-9deab8bc0ad4" providerId="ADAL" clId="{FC0F3564-909F-4E85-A869-081C389E7D24}" dt="2024-01-02T21:54:36.669" v="1604"/>
          <ac:spMkLst>
            <pc:docMk/>
            <pc:sldMk cId="3714781665" sldId="2147472384"/>
            <ac:spMk id="5" creationId="{794A803D-844E-1D91-B3F7-73597847BE1B}"/>
          </ac:spMkLst>
        </pc:spChg>
        <pc:spChg chg="mod">
          <ac:chgData name="Wong, Alyssa" userId="80601413-c4b2-43cf-bfa4-9deab8bc0ad4" providerId="ADAL" clId="{FC0F3564-909F-4E85-A869-081C389E7D24}" dt="2024-01-02T22:28:38.428" v="1726" actId="20577"/>
          <ac:spMkLst>
            <pc:docMk/>
            <pc:sldMk cId="3714781665" sldId="2147472384"/>
            <ac:spMk id="10" creationId="{4E1D30F1-2CF8-56E6-473D-CEACD5D5DC75}"/>
          </ac:spMkLst>
        </pc:spChg>
        <pc:spChg chg="mod">
          <ac:chgData name="Wong, Alyssa" userId="80601413-c4b2-43cf-bfa4-9deab8bc0ad4" providerId="ADAL" clId="{FC0F3564-909F-4E85-A869-081C389E7D24}" dt="2024-01-04T14:38:15.605" v="2792" actId="20577"/>
          <ac:spMkLst>
            <pc:docMk/>
            <pc:sldMk cId="3714781665" sldId="2147472384"/>
            <ac:spMk id="16" creationId="{3EEDA334-D057-44BE-8283-82F38687D121}"/>
          </ac:spMkLst>
        </pc:spChg>
        <pc:cxnChg chg="mod">
          <ac:chgData name="Wong, Alyssa" userId="80601413-c4b2-43cf-bfa4-9deab8bc0ad4" providerId="ADAL" clId="{FC0F3564-909F-4E85-A869-081C389E7D24}" dt="2024-01-02T21:54:32.985" v="1602" actId="1076"/>
          <ac:cxnSpMkLst>
            <pc:docMk/>
            <pc:sldMk cId="3714781665" sldId="2147472384"/>
            <ac:cxnSpMk id="7" creationId="{0B7CD33A-8F58-241F-6847-C743EADE532F}"/>
          </ac:cxnSpMkLst>
        </pc:cxnChg>
      </pc:sldChg>
      <pc:sldChg chg="add modTransition">
        <pc:chgData name="Wong, Alyssa" userId="80601413-c4b2-43cf-bfa4-9deab8bc0ad4" providerId="ADAL" clId="{FC0F3564-909F-4E85-A869-081C389E7D24}" dt="2024-01-02T17:02:37.119" v="61"/>
        <pc:sldMkLst>
          <pc:docMk/>
          <pc:sldMk cId="1640810849" sldId="2147472385"/>
        </pc:sldMkLst>
      </pc:sldChg>
      <pc:sldChg chg="addSp delSp modSp add mod modTransition">
        <pc:chgData name="Wong, Alyssa" userId="80601413-c4b2-43cf-bfa4-9deab8bc0ad4" providerId="ADAL" clId="{FC0F3564-909F-4E85-A869-081C389E7D24}" dt="2024-01-08T18:51:22.473" v="3415" actId="3626"/>
        <pc:sldMkLst>
          <pc:docMk/>
          <pc:sldMk cId="1758831762" sldId="2147472387"/>
        </pc:sldMkLst>
        <pc:spChg chg="mod">
          <ac:chgData name="Wong, Alyssa" userId="80601413-c4b2-43cf-bfa4-9deab8bc0ad4" providerId="ADAL" clId="{FC0F3564-909F-4E85-A869-081C389E7D24}" dt="2024-01-08T18:51:22.473" v="3415" actId="3626"/>
          <ac:spMkLst>
            <pc:docMk/>
            <pc:sldMk cId="1758831762" sldId="2147472387"/>
            <ac:spMk id="8" creationId="{CFFD6CDD-B17F-5326-5ED1-CB1A9404D6C0}"/>
          </ac:spMkLst>
        </pc:spChg>
        <pc:picChg chg="add del mod">
          <ac:chgData name="Wong, Alyssa" userId="80601413-c4b2-43cf-bfa4-9deab8bc0ad4" providerId="ADAL" clId="{FC0F3564-909F-4E85-A869-081C389E7D24}" dt="2024-01-03T17:44:12.293" v="1957" actId="478"/>
          <ac:picMkLst>
            <pc:docMk/>
            <pc:sldMk cId="1758831762" sldId="2147472387"/>
            <ac:picMk id="3" creationId="{6D64FD76-E34F-8F0B-6C7C-DBF065989C49}"/>
          </ac:picMkLst>
        </pc:picChg>
        <pc:picChg chg="add del mod modCrop">
          <ac:chgData name="Wong, Alyssa" userId="80601413-c4b2-43cf-bfa4-9deab8bc0ad4" providerId="ADAL" clId="{FC0F3564-909F-4E85-A869-081C389E7D24}" dt="2024-01-03T21:05:29.088" v="2764" actId="478"/>
          <ac:picMkLst>
            <pc:docMk/>
            <pc:sldMk cId="1758831762" sldId="2147472387"/>
            <ac:picMk id="5" creationId="{9B21FAA0-6504-C626-77E2-2C4B59A46A0C}"/>
          </ac:picMkLst>
        </pc:picChg>
        <pc:picChg chg="add mod">
          <ac:chgData name="Wong, Alyssa" userId="80601413-c4b2-43cf-bfa4-9deab8bc0ad4" providerId="ADAL" clId="{FC0F3564-909F-4E85-A869-081C389E7D24}" dt="2024-01-03T21:05:38.414" v="2767" actId="1076"/>
          <ac:picMkLst>
            <pc:docMk/>
            <pc:sldMk cId="1758831762" sldId="2147472387"/>
            <ac:picMk id="6" creationId="{AD67E2A3-6AEE-D6CA-C686-2CAE17170614}"/>
          </ac:picMkLst>
        </pc:picChg>
        <pc:picChg chg="mod">
          <ac:chgData name="Wong, Alyssa" userId="80601413-c4b2-43cf-bfa4-9deab8bc0ad4" providerId="ADAL" clId="{FC0F3564-909F-4E85-A869-081C389E7D24}" dt="2024-01-03T21:04:36.718" v="2755" actId="1076"/>
          <ac:picMkLst>
            <pc:docMk/>
            <pc:sldMk cId="1758831762" sldId="2147472387"/>
            <ac:picMk id="7" creationId="{E74E7095-CD1D-38A0-DF9E-25177C539E45}"/>
          </ac:picMkLst>
        </pc:picChg>
        <pc:picChg chg="mod">
          <ac:chgData name="Wong, Alyssa" userId="80601413-c4b2-43cf-bfa4-9deab8bc0ad4" providerId="ADAL" clId="{FC0F3564-909F-4E85-A869-081C389E7D24}" dt="2024-01-03T21:04:33.218" v="2754" actId="1076"/>
          <ac:picMkLst>
            <pc:docMk/>
            <pc:sldMk cId="1758831762" sldId="2147472387"/>
            <ac:picMk id="9" creationId="{821F43D6-D4C3-707F-4818-A75873DB3F84}"/>
          </ac:picMkLst>
        </pc:picChg>
      </pc:sldChg>
      <pc:sldChg chg="modSp add mod modTransition delCm modCm">
        <pc:chgData name="Wong, Alyssa" userId="80601413-c4b2-43cf-bfa4-9deab8bc0ad4" providerId="ADAL" clId="{FC0F3564-909F-4E85-A869-081C389E7D24}" dt="2024-01-03T17:46:11.155" v="1982" actId="20577"/>
        <pc:sldMkLst>
          <pc:docMk/>
          <pc:sldMk cId="2372328824" sldId="2147472388"/>
        </pc:sldMkLst>
        <pc:spChg chg="mod">
          <ac:chgData name="Wong, Alyssa" userId="80601413-c4b2-43cf-bfa4-9deab8bc0ad4" providerId="ADAL" clId="{FC0F3564-909F-4E85-A869-081C389E7D24}" dt="2024-01-03T17:46:11.155" v="1982" actId="20577"/>
          <ac:spMkLst>
            <pc:docMk/>
            <pc:sldMk cId="2372328824" sldId="2147472388"/>
            <ac:spMk id="4" creationId="{00BAD554-4BA6-9B46-C0DC-B4131B2F0143}"/>
          </ac:spMkLst>
        </pc:spChg>
      </pc:sldChg>
      <pc:sldChg chg="addSp delSp modSp add mod modTransition delCm modCm">
        <pc:chgData name="Wong, Alyssa" userId="80601413-c4b2-43cf-bfa4-9deab8bc0ad4" providerId="ADAL" clId="{FC0F3564-909F-4E85-A869-081C389E7D24}" dt="2024-01-03T16:46:24.958" v="1782" actId="20577"/>
        <pc:sldMkLst>
          <pc:docMk/>
          <pc:sldMk cId="1472917968" sldId="2147472389"/>
        </pc:sldMkLst>
        <pc:spChg chg="mod">
          <ac:chgData name="Wong, Alyssa" userId="80601413-c4b2-43cf-bfa4-9deab8bc0ad4" providerId="ADAL" clId="{FC0F3564-909F-4E85-A869-081C389E7D24}" dt="2024-01-03T13:51:47.556" v="1734" actId="14100"/>
          <ac:spMkLst>
            <pc:docMk/>
            <pc:sldMk cId="1472917968" sldId="2147472389"/>
            <ac:spMk id="4" creationId="{00BAD554-4BA6-9B46-C0DC-B4131B2F0143}"/>
          </ac:spMkLst>
        </pc:spChg>
        <pc:spChg chg="mod">
          <ac:chgData name="Wong, Alyssa" userId="80601413-c4b2-43cf-bfa4-9deab8bc0ad4" providerId="ADAL" clId="{FC0F3564-909F-4E85-A869-081C389E7D24}" dt="2024-01-03T16:46:24.958" v="1782" actId="20577"/>
          <ac:spMkLst>
            <pc:docMk/>
            <pc:sldMk cId="1472917968" sldId="2147472389"/>
            <ac:spMk id="10" creationId="{4E1D30F1-2CF8-56E6-473D-CEACD5D5DC75}"/>
          </ac:spMkLst>
        </pc:spChg>
        <pc:graphicFrameChg chg="add del modGraphic">
          <ac:chgData name="Wong, Alyssa" userId="80601413-c4b2-43cf-bfa4-9deab8bc0ad4" providerId="ADAL" clId="{FC0F3564-909F-4E85-A869-081C389E7D24}" dt="2024-01-03T14:52:31.568" v="1765" actId="478"/>
          <ac:graphicFrameMkLst>
            <pc:docMk/>
            <pc:sldMk cId="1472917968" sldId="2147472389"/>
            <ac:graphicFrameMk id="3" creationId="{637E8390-412A-23FF-33AC-CDBA522D100C}"/>
          </ac:graphicFrameMkLst>
        </pc:graphicFrameChg>
        <pc:picChg chg="mod">
          <ac:chgData name="Wong, Alyssa" userId="80601413-c4b2-43cf-bfa4-9deab8bc0ad4" providerId="ADAL" clId="{FC0F3564-909F-4E85-A869-081C389E7D24}" dt="2024-01-03T14:52:59.789" v="1767" actId="1076"/>
          <ac:picMkLst>
            <pc:docMk/>
            <pc:sldMk cId="1472917968" sldId="2147472389"/>
            <ac:picMk id="8" creationId="{A1FEF25E-3783-3636-DE40-21CB280D1B72}"/>
          </ac:picMkLst>
        </pc:picChg>
      </pc:sldChg>
      <pc:sldChg chg="addSp delSp modSp add mod">
        <pc:chgData name="Wong, Alyssa" userId="80601413-c4b2-43cf-bfa4-9deab8bc0ad4" providerId="ADAL" clId="{FC0F3564-909F-4E85-A869-081C389E7D24}" dt="2024-01-03T14:16:19.906" v="1737" actId="1076"/>
        <pc:sldMkLst>
          <pc:docMk/>
          <pc:sldMk cId="3161780041" sldId="2147472390"/>
        </pc:sldMkLst>
        <pc:spChg chg="mod">
          <ac:chgData name="Wong, Alyssa" userId="80601413-c4b2-43cf-bfa4-9deab8bc0ad4" providerId="ADAL" clId="{FC0F3564-909F-4E85-A869-081C389E7D24}" dt="2024-01-02T18:44:51.775" v="1014" actId="20577"/>
          <ac:spMkLst>
            <pc:docMk/>
            <pc:sldMk cId="3161780041" sldId="2147472390"/>
            <ac:spMk id="8" creationId="{CFFD6CDD-B17F-5326-5ED1-CB1A9404D6C0}"/>
          </ac:spMkLst>
        </pc:spChg>
        <pc:spChg chg="mod">
          <ac:chgData name="Wong, Alyssa" userId="80601413-c4b2-43cf-bfa4-9deab8bc0ad4" providerId="ADAL" clId="{FC0F3564-909F-4E85-A869-081C389E7D24}" dt="2024-01-02T18:19:00.940" v="499" actId="20577"/>
          <ac:spMkLst>
            <pc:docMk/>
            <pc:sldMk cId="3161780041" sldId="2147472390"/>
            <ac:spMk id="10" creationId="{4E1D30F1-2CF8-56E6-473D-CEACD5D5DC75}"/>
          </ac:spMkLst>
        </pc:spChg>
        <pc:spChg chg="mod">
          <ac:chgData name="Wong, Alyssa" userId="80601413-c4b2-43cf-bfa4-9deab8bc0ad4" providerId="ADAL" clId="{FC0F3564-909F-4E85-A869-081C389E7D24}" dt="2024-01-02T18:07:29.927" v="89" actId="20577"/>
          <ac:spMkLst>
            <pc:docMk/>
            <pc:sldMk cId="3161780041" sldId="2147472390"/>
            <ac:spMk id="16" creationId="{3EEDA334-D057-44BE-8283-82F38687D121}"/>
          </ac:spMkLst>
        </pc:spChg>
        <pc:picChg chg="add del mod">
          <ac:chgData name="Wong, Alyssa" userId="80601413-c4b2-43cf-bfa4-9deab8bc0ad4" providerId="ADAL" clId="{FC0F3564-909F-4E85-A869-081C389E7D24}" dt="2024-01-02T18:13:37.308" v="330" actId="478"/>
          <ac:picMkLst>
            <pc:docMk/>
            <pc:sldMk cId="3161780041" sldId="2147472390"/>
            <ac:picMk id="3" creationId="{3533B156-27EE-2CE0-354D-422B1394A1E3}"/>
          </ac:picMkLst>
        </pc:picChg>
        <pc:picChg chg="add del mod">
          <ac:chgData name="Wong, Alyssa" userId="80601413-c4b2-43cf-bfa4-9deab8bc0ad4" providerId="ADAL" clId="{FC0F3564-909F-4E85-A869-081C389E7D24}" dt="2024-01-02T18:15:38.445" v="343" actId="478"/>
          <ac:picMkLst>
            <pc:docMk/>
            <pc:sldMk cId="3161780041" sldId="2147472390"/>
            <ac:picMk id="5" creationId="{EE5F97E9-D83C-2E92-663F-A684226DCAA1}"/>
          </ac:picMkLst>
        </pc:picChg>
        <pc:picChg chg="add mod">
          <ac:chgData name="Wong, Alyssa" userId="80601413-c4b2-43cf-bfa4-9deab8bc0ad4" providerId="ADAL" clId="{FC0F3564-909F-4E85-A869-081C389E7D24}" dt="2024-01-02T19:01:12.680" v="1039" actId="1076"/>
          <ac:picMkLst>
            <pc:docMk/>
            <pc:sldMk cId="3161780041" sldId="2147472390"/>
            <ac:picMk id="6" creationId="{84884879-E56C-5449-06DC-399EF9EE9681}"/>
          </ac:picMkLst>
        </pc:picChg>
        <pc:picChg chg="del">
          <ac:chgData name="Wong, Alyssa" userId="80601413-c4b2-43cf-bfa4-9deab8bc0ad4" providerId="ADAL" clId="{FC0F3564-909F-4E85-A869-081C389E7D24}" dt="2024-01-02T18:13:57.616" v="334" actId="478"/>
          <ac:picMkLst>
            <pc:docMk/>
            <pc:sldMk cId="3161780041" sldId="2147472390"/>
            <ac:picMk id="7" creationId="{E74E7095-CD1D-38A0-DF9E-25177C539E45}"/>
          </ac:picMkLst>
        </pc:picChg>
        <pc:picChg chg="mod">
          <ac:chgData name="Wong, Alyssa" userId="80601413-c4b2-43cf-bfa4-9deab8bc0ad4" providerId="ADAL" clId="{FC0F3564-909F-4E85-A869-081C389E7D24}" dt="2024-01-02T19:00:01.383" v="1031" actId="1076"/>
          <ac:picMkLst>
            <pc:docMk/>
            <pc:sldMk cId="3161780041" sldId="2147472390"/>
            <ac:picMk id="9" creationId="{821F43D6-D4C3-707F-4818-A75873DB3F84}"/>
          </ac:picMkLst>
        </pc:picChg>
        <pc:picChg chg="add del mod">
          <ac:chgData name="Wong, Alyssa" userId="80601413-c4b2-43cf-bfa4-9deab8bc0ad4" providerId="ADAL" clId="{FC0F3564-909F-4E85-A869-081C389E7D24}" dt="2024-01-02T18:16:17.125" v="348" actId="478"/>
          <ac:picMkLst>
            <pc:docMk/>
            <pc:sldMk cId="3161780041" sldId="2147472390"/>
            <ac:picMk id="12" creationId="{83400021-BD66-3E44-C4C5-53C804642070}"/>
          </ac:picMkLst>
        </pc:picChg>
        <pc:picChg chg="add mod">
          <ac:chgData name="Wong, Alyssa" userId="80601413-c4b2-43cf-bfa4-9deab8bc0ad4" providerId="ADAL" clId="{FC0F3564-909F-4E85-A869-081C389E7D24}" dt="2024-01-03T14:16:19.906" v="1737" actId="1076"/>
          <ac:picMkLst>
            <pc:docMk/>
            <pc:sldMk cId="3161780041" sldId="2147472390"/>
            <ac:picMk id="13" creationId="{B2BF1FC7-E573-4FCD-70C2-2E3E2F0245B1}"/>
          </ac:picMkLst>
        </pc:picChg>
        <pc:picChg chg="add del mod">
          <ac:chgData name="Wong, Alyssa" userId="80601413-c4b2-43cf-bfa4-9deab8bc0ad4" providerId="ADAL" clId="{FC0F3564-909F-4E85-A869-081C389E7D24}" dt="2024-01-02T18:28:21.092" v="603" actId="478"/>
          <ac:picMkLst>
            <pc:docMk/>
            <pc:sldMk cId="3161780041" sldId="2147472390"/>
            <ac:picMk id="15" creationId="{DAE21B6D-A1E8-857B-B7E3-FBAC37386ED1}"/>
          </ac:picMkLst>
        </pc:picChg>
        <pc:picChg chg="add del mod">
          <ac:chgData name="Wong, Alyssa" userId="80601413-c4b2-43cf-bfa4-9deab8bc0ad4" providerId="ADAL" clId="{FC0F3564-909F-4E85-A869-081C389E7D24}" dt="2024-01-02T18:47:02.008" v="1018" actId="478"/>
          <ac:picMkLst>
            <pc:docMk/>
            <pc:sldMk cId="3161780041" sldId="2147472390"/>
            <ac:picMk id="18" creationId="{47C9827F-8653-2671-5388-F412FAD28169}"/>
          </ac:picMkLst>
        </pc:picChg>
        <pc:picChg chg="add del mod">
          <ac:chgData name="Wong, Alyssa" userId="80601413-c4b2-43cf-bfa4-9deab8bc0ad4" providerId="ADAL" clId="{FC0F3564-909F-4E85-A869-081C389E7D24}" dt="2024-01-02T18:59:45.242" v="1027" actId="478"/>
          <ac:picMkLst>
            <pc:docMk/>
            <pc:sldMk cId="3161780041" sldId="2147472390"/>
            <ac:picMk id="20" creationId="{1E128F34-54B7-173A-8966-07DD411C1217}"/>
          </ac:picMkLst>
        </pc:picChg>
        <pc:picChg chg="add del mod">
          <ac:chgData name="Wong, Alyssa" userId="80601413-c4b2-43cf-bfa4-9deab8bc0ad4" providerId="ADAL" clId="{FC0F3564-909F-4E85-A869-081C389E7D24}" dt="2024-01-02T19:00:50.479" v="1035" actId="478"/>
          <ac:picMkLst>
            <pc:docMk/>
            <pc:sldMk cId="3161780041" sldId="2147472390"/>
            <ac:picMk id="22" creationId="{5C076F9E-ECB9-BD91-C527-D277F1E164F2}"/>
          </ac:picMkLst>
        </pc:picChg>
      </pc:sldChg>
      <pc:sldChg chg="modSp add mod delCm modCm">
        <pc:chgData name="Wong, Alyssa" userId="80601413-c4b2-43cf-bfa4-9deab8bc0ad4" providerId="ADAL" clId="{FC0F3564-909F-4E85-A869-081C389E7D24}" dt="2024-01-03T14:54:33.568" v="1774"/>
        <pc:sldMkLst>
          <pc:docMk/>
          <pc:sldMk cId="3490125676" sldId="2147472391"/>
        </pc:sldMkLst>
        <pc:spChg chg="mod">
          <ac:chgData name="Wong, Alyssa" userId="80601413-c4b2-43cf-bfa4-9deab8bc0ad4" providerId="ADAL" clId="{FC0F3564-909F-4E85-A869-081C389E7D24}" dt="2024-01-02T21:59:15.360" v="1630" actId="207"/>
          <ac:spMkLst>
            <pc:docMk/>
            <pc:sldMk cId="3490125676" sldId="2147472391"/>
            <ac:spMk id="8" creationId="{CFFD6CDD-B17F-5326-5ED1-CB1A9404D6C0}"/>
          </ac:spMkLst>
        </pc:spChg>
        <pc:spChg chg="mod">
          <ac:chgData name="Wong, Alyssa" userId="80601413-c4b2-43cf-bfa4-9deab8bc0ad4" providerId="ADAL" clId="{FC0F3564-909F-4E85-A869-081C389E7D24}" dt="2024-01-02T19:06:23.947" v="1047" actId="20577"/>
          <ac:spMkLst>
            <pc:docMk/>
            <pc:sldMk cId="3490125676" sldId="2147472391"/>
            <ac:spMk id="16" creationId="{3EEDA334-D057-44BE-8283-82F38687D121}"/>
          </ac:spMkLst>
        </pc:spChg>
        <pc:picChg chg="mod">
          <ac:chgData name="Wong, Alyssa" userId="80601413-c4b2-43cf-bfa4-9deab8bc0ad4" providerId="ADAL" clId="{FC0F3564-909F-4E85-A869-081C389E7D24}" dt="2024-01-02T21:59:31.057" v="1632" actId="1076"/>
          <ac:picMkLst>
            <pc:docMk/>
            <pc:sldMk cId="3490125676" sldId="2147472391"/>
            <ac:picMk id="9" creationId="{821F43D6-D4C3-707F-4818-A75873DB3F84}"/>
          </ac:picMkLst>
        </pc:picChg>
        <pc:picChg chg="mod">
          <ac:chgData name="Wong, Alyssa" userId="80601413-c4b2-43cf-bfa4-9deab8bc0ad4" providerId="ADAL" clId="{FC0F3564-909F-4E85-A869-081C389E7D24}" dt="2024-01-02T21:59:31.057" v="1632" actId="1076"/>
          <ac:picMkLst>
            <pc:docMk/>
            <pc:sldMk cId="3490125676" sldId="2147472391"/>
            <ac:picMk id="13" creationId="{B2BF1FC7-E573-4FCD-70C2-2E3E2F0245B1}"/>
          </ac:picMkLst>
        </pc:picChg>
      </pc:sldChg>
      <pc:sldChg chg="addSp modSp add mod ord delCm modCm">
        <pc:chgData name="Wong, Alyssa" userId="80601413-c4b2-43cf-bfa4-9deab8bc0ad4" providerId="ADAL" clId="{FC0F3564-909F-4E85-A869-081C389E7D24}" dt="2024-01-08T18:51:38.966" v="3417" actId="1076"/>
        <pc:sldMkLst>
          <pc:docMk/>
          <pc:sldMk cId="1159091119" sldId="2147472392"/>
        </pc:sldMkLst>
        <pc:spChg chg="mod">
          <ac:chgData name="Wong, Alyssa" userId="80601413-c4b2-43cf-bfa4-9deab8bc0ad4" providerId="ADAL" clId="{FC0F3564-909F-4E85-A869-081C389E7D24}" dt="2024-01-05T16:45:52.619" v="3304" actId="20577"/>
          <ac:spMkLst>
            <pc:docMk/>
            <pc:sldMk cId="1159091119" sldId="2147472392"/>
            <ac:spMk id="3" creationId="{802F4057-D21A-82FD-C579-A946465549FD}"/>
          </ac:spMkLst>
        </pc:spChg>
        <pc:spChg chg="add mod">
          <ac:chgData name="Wong, Alyssa" userId="80601413-c4b2-43cf-bfa4-9deab8bc0ad4" providerId="ADAL" clId="{FC0F3564-909F-4E85-A869-081C389E7D24}" dt="2024-01-03T19:40:32.759" v="2694"/>
          <ac:spMkLst>
            <pc:docMk/>
            <pc:sldMk cId="1159091119" sldId="2147472392"/>
            <ac:spMk id="5" creationId="{EC2FB23C-0C3E-9762-EA20-6D99D618BE4A}"/>
          </ac:spMkLst>
        </pc:spChg>
        <pc:spChg chg="mod">
          <ac:chgData name="Wong, Alyssa" userId="80601413-c4b2-43cf-bfa4-9deab8bc0ad4" providerId="ADAL" clId="{FC0F3564-909F-4E85-A869-081C389E7D24}" dt="2024-01-02T22:43:59.284" v="1731" actId="207"/>
          <ac:spMkLst>
            <pc:docMk/>
            <pc:sldMk cId="1159091119" sldId="2147472392"/>
            <ac:spMk id="24" creationId="{964923DB-2256-419B-A063-3239D1FC888E}"/>
          </ac:spMkLst>
        </pc:spChg>
        <pc:picChg chg="add mod">
          <ac:chgData name="Wong, Alyssa" userId="80601413-c4b2-43cf-bfa4-9deab8bc0ad4" providerId="ADAL" clId="{FC0F3564-909F-4E85-A869-081C389E7D24}" dt="2024-01-03T19:41:24.313" v="2697" actId="1076"/>
          <ac:picMkLst>
            <pc:docMk/>
            <pc:sldMk cId="1159091119" sldId="2147472392"/>
            <ac:picMk id="4" creationId="{C0CBDB15-5EE2-EE58-9BAE-A45E3C867B58}"/>
          </ac:picMkLst>
        </pc:picChg>
        <pc:picChg chg="add mod">
          <ac:chgData name="Wong, Alyssa" userId="80601413-c4b2-43cf-bfa4-9deab8bc0ad4" providerId="ADAL" clId="{FC0F3564-909F-4E85-A869-081C389E7D24}" dt="2024-01-08T18:51:38.966" v="3417" actId="1076"/>
          <ac:picMkLst>
            <pc:docMk/>
            <pc:sldMk cId="1159091119" sldId="2147472392"/>
            <ac:picMk id="6" creationId="{DC0DB128-E7CC-D03D-19EC-18956A00C64F}"/>
          </ac:picMkLst>
        </pc:picChg>
      </pc:sldChg>
      <pc:sldChg chg="addSp delSp modSp add mod ord delCm modCm">
        <pc:chgData name="Wong, Alyssa" userId="80601413-c4b2-43cf-bfa4-9deab8bc0ad4" providerId="ADAL" clId="{FC0F3564-909F-4E85-A869-081C389E7D24}" dt="2024-01-08T18:51:51.999" v="3419" actId="1076"/>
        <pc:sldMkLst>
          <pc:docMk/>
          <pc:sldMk cId="1132225721" sldId="2147472393"/>
        </pc:sldMkLst>
        <pc:spChg chg="mod">
          <ac:chgData name="Wong, Alyssa" userId="80601413-c4b2-43cf-bfa4-9deab8bc0ad4" providerId="ADAL" clId="{FC0F3564-909F-4E85-A869-081C389E7D24}" dt="2024-01-02T20:29:01.265" v="1581" actId="20577"/>
          <ac:spMkLst>
            <pc:docMk/>
            <pc:sldMk cId="1132225721" sldId="2147472393"/>
            <ac:spMk id="3" creationId="{802F4057-D21A-82FD-C579-A946465549FD}"/>
          </ac:spMkLst>
        </pc:spChg>
        <pc:spChg chg="add mod">
          <ac:chgData name="Wong, Alyssa" userId="80601413-c4b2-43cf-bfa4-9deab8bc0ad4" providerId="ADAL" clId="{FC0F3564-909F-4E85-A869-081C389E7D24}" dt="2024-01-03T19:40:35.459" v="2695"/>
          <ac:spMkLst>
            <pc:docMk/>
            <pc:sldMk cId="1132225721" sldId="2147472393"/>
            <ac:spMk id="6" creationId="{060E0A0B-93A9-5D42-65B1-2C3C14B8DB7E}"/>
          </ac:spMkLst>
        </pc:spChg>
        <pc:spChg chg="mod">
          <ac:chgData name="Wong, Alyssa" userId="80601413-c4b2-43cf-bfa4-9deab8bc0ad4" providerId="ADAL" clId="{FC0F3564-909F-4E85-A869-081C389E7D24}" dt="2024-01-02T22:44:03.320" v="1732" actId="207"/>
          <ac:spMkLst>
            <pc:docMk/>
            <pc:sldMk cId="1132225721" sldId="2147472393"/>
            <ac:spMk id="24" creationId="{964923DB-2256-419B-A063-3239D1FC888E}"/>
          </ac:spMkLst>
        </pc:spChg>
        <pc:picChg chg="add del mod">
          <ac:chgData name="Wong, Alyssa" userId="80601413-c4b2-43cf-bfa4-9deab8bc0ad4" providerId="ADAL" clId="{FC0F3564-909F-4E85-A869-081C389E7D24}" dt="2024-01-02T20:25:01.172" v="1423" actId="478"/>
          <ac:picMkLst>
            <pc:docMk/>
            <pc:sldMk cId="1132225721" sldId="2147472393"/>
            <ac:picMk id="4" creationId="{44765A18-983F-7F66-C9F5-1E6E65E989D7}"/>
          </ac:picMkLst>
        </pc:picChg>
        <pc:picChg chg="add mod">
          <ac:chgData name="Wong, Alyssa" userId="80601413-c4b2-43cf-bfa4-9deab8bc0ad4" providerId="ADAL" clId="{FC0F3564-909F-4E85-A869-081C389E7D24}" dt="2024-01-03T19:41:29.685" v="2698" actId="1076"/>
          <ac:picMkLst>
            <pc:docMk/>
            <pc:sldMk cId="1132225721" sldId="2147472393"/>
            <ac:picMk id="5" creationId="{EBE7BE94-63B6-6DEE-D703-3611AB79BD25}"/>
          </ac:picMkLst>
        </pc:picChg>
        <pc:picChg chg="add mod">
          <ac:chgData name="Wong, Alyssa" userId="80601413-c4b2-43cf-bfa4-9deab8bc0ad4" providerId="ADAL" clId="{FC0F3564-909F-4E85-A869-081C389E7D24}" dt="2024-01-08T18:51:51.999" v="3419" actId="1076"/>
          <ac:picMkLst>
            <pc:docMk/>
            <pc:sldMk cId="1132225721" sldId="2147472393"/>
            <ac:picMk id="7" creationId="{34776EFF-42E7-0F2E-D32A-B2FFF4F8C4A8}"/>
          </ac:picMkLst>
        </pc:picChg>
        <pc:picChg chg="add del mod">
          <ac:chgData name="Wong, Alyssa" userId="80601413-c4b2-43cf-bfa4-9deab8bc0ad4" providerId="ADAL" clId="{FC0F3564-909F-4E85-A869-081C389E7D24}" dt="2024-01-02T20:25:04.412" v="1424" actId="14826"/>
          <ac:picMkLst>
            <pc:docMk/>
            <pc:sldMk cId="1132225721" sldId="2147472393"/>
            <ac:picMk id="26" creationId="{A2E44B7A-42C4-73C2-7C53-BABF50439C4F}"/>
          </ac:picMkLst>
        </pc:picChg>
      </pc:sldChg>
      <pc:sldChg chg="add ord">
        <pc:chgData name="Wong, Alyssa" userId="80601413-c4b2-43cf-bfa4-9deab8bc0ad4" providerId="ADAL" clId="{FC0F3564-909F-4E85-A869-081C389E7D24}" dt="2024-01-03T14:21:55.941" v="1748"/>
        <pc:sldMkLst>
          <pc:docMk/>
          <pc:sldMk cId="386729438" sldId="2147472394"/>
        </pc:sldMkLst>
      </pc:sldChg>
      <pc:sldChg chg="add del ord setBg">
        <pc:chgData name="Wong, Alyssa" userId="80601413-c4b2-43cf-bfa4-9deab8bc0ad4" providerId="ADAL" clId="{FC0F3564-909F-4E85-A869-081C389E7D24}" dt="2024-01-03T14:21:50.515" v="1745" actId="47"/>
        <pc:sldMkLst>
          <pc:docMk/>
          <pc:sldMk cId="2895724893" sldId="2147472394"/>
        </pc:sldMkLst>
      </pc:sldChg>
      <pc:sldChg chg="add del setBg">
        <pc:chgData name="Wong, Alyssa" userId="80601413-c4b2-43cf-bfa4-9deab8bc0ad4" providerId="ADAL" clId="{FC0F3564-909F-4E85-A869-081C389E7D24}" dt="2024-01-03T14:21:44.478" v="1741"/>
        <pc:sldMkLst>
          <pc:docMk/>
          <pc:sldMk cId="3812013947" sldId="2147472394"/>
        </pc:sldMkLst>
      </pc:sldChg>
      <pc:sldChg chg="addSp delSp modSp new del mod">
        <pc:chgData name="Wong, Alyssa" userId="80601413-c4b2-43cf-bfa4-9deab8bc0ad4" providerId="ADAL" clId="{FC0F3564-909F-4E85-A869-081C389E7D24}" dt="2024-01-02T22:01:18.884" v="1639" actId="47"/>
        <pc:sldMkLst>
          <pc:docMk/>
          <pc:sldMk cId="4272374271" sldId="2147472394"/>
        </pc:sldMkLst>
        <pc:spChg chg="del">
          <ac:chgData name="Wong, Alyssa" userId="80601413-c4b2-43cf-bfa4-9deab8bc0ad4" providerId="ADAL" clId="{FC0F3564-909F-4E85-A869-081C389E7D24}" dt="2024-01-02T22:01:09.498" v="1637" actId="478"/>
          <ac:spMkLst>
            <pc:docMk/>
            <pc:sldMk cId="4272374271" sldId="2147472394"/>
            <ac:spMk id="2" creationId="{659C60B6-9BA9-2D03-CB5C-2790B9A782B5}"/>
          </ac:spMkLst>
        </pc:spChg>
        <pc:spChg chg="del">
          <ac:chgData name="Wong, Alyssa" userId="80601413-c4b2-43cf-bfa4-9deab8bc0ad4" providerId="ADAL" clId="{FC0F3564-909F-4E85-A869-081C389E7D24}" dt="2024-01-02T22:01:09.498" v="1637" actId="478"/>
          <ac:spMkLst>
            <pc:docMk/>
            <pc:sldMk cId="4272374271" sldId="2147472394"/>
            <ac:spMk id="3" creationId="{0106EF31-B652-5FD8-67D9-57FA73AE2041}"/>
          </ac:spMkLst>
        </pc:spChg>
        <pc:spChg chg="add mod">
          <ac:chgData name="Wong, Alyssa" userId="80601413-c4b2-43cf-bfa4-9deab8bc0ad4" providerId="ADAL" clId="{FC0F3564-909F-4E85-A869-081C389E7D24}" dt="2024-01-02T22:01:10.312" v="1638"/>
          <ac:spMkLst>
            <pc:docMk/>
            <pc:sldMk cId="4272374271" sldId="2147472394"/>
            <ac:spMk id="4" creationId="{21FE7104-5F8E-30F7-3EC2-D1C1CD076B58}"/>
          </ac:spMkLst>
        </pc:spChg>
        <pc:spChg chg="add mod">
          <ac:chgData name="Wong, Alyssa" userId="80601413-c4b2-43cf-bfa4-9deab8bc0ad4" providerId="ADAL" clId="{FC0F3564-909F-4E85-A869-081C389E7D24}" dt="2024-01-02T22:01:10.312" v="1638"/>
          <ac:spMkLst>
            <pc:docMk/>
            <pc:sldMk cId="4272374271" sldId="2147472394"/>
            <ac:spMk id="5" creationId="{6E01B35D-49F2-C1F0-2BC2-9E730572E5B1}"/>
          </ac:spMkLst>
        </pc:spChg>
        <pc:spChg chg="add mod">
          <ac:chgData name="Wong, Alyssa" userId="80601413-c4b2-43cf-bfa4-9deab8bc0ad4" providerId="ADAL" clId="{FC0F3564-909F-4E85-A869-081C389E7D24}" dt="2024-01-02T22:01:10.312" v="1638"/>
          <ac:spMkLst>
            <pc:docMk/>
            <pc:sldMk cId="4272374271" sldId="2147472394"/>
            <ac:spMk id="6" creationId="{AD41C7F2-2B0F-E4C2-A12A-46B1BBD7C9A4}"/>
          </ac:spMkLst>
        </pc:spChg>
        <pc:picChg chg="add mod">
          <ac:chgData name="Wong, Alyssa" userId="80601413-c4b2-43cf-bfa4-9deab8bc0ad4" providerId="ADAL" clId="{FC0F3564-909F-4E85-A869-081C389E7D24}" dt="2024-01-02T22:01:10.312" v="1638"/>
          <ac:picMkLst>
            <pc:docMk/>
            <pc:sldMk cId="4272374271" sldId="2147472394"/>
            <ac:picMk id="7" creationId="{4BCE78A0-1601-8A27-105A-ECE55781961D}"/>
          </ac:picMkLst>
        </pc:picChg>
      </pc:sldChg>
      <pc:sldChg chg="modSp add mod ord delCm">
        <pc:chgData name="Wong, Alyssa" userId="80601413-c4b2-43cf-bfa4-9deab8bc0ad4" providerId="ADAL" clId="{FC0F3564-909F-4E85-A869-081C389E7D24}" dt="2024-01-03T18:50:00.153" v="2627"/>
        <pc:sldMkLst>
          <pc:docMk/>
          <pc:sldMk cId="2955890956" sldId="2147472395"/>
        </pc:sldMkLst>
        <pc:spChg chg="mod">
          <ac:chgData name="Wong, Alyssa" userId="80601413-c4b2-43cf-bfa4-9deab8bc0ad4" providerId="ADAL" clId="{FC0F3564-909F-4E85-A869-081C389E7D24}" dt="2024-01-03T17:39:01.725" v="1828" actId="20577"/>
          <ac:spMkLst>
            <pc:docMk/>
            <pc:sldMk cId="2955890956" sldId="2147472395"/>
            <ac:spMk id="3" creationId="{DBE128BB-F9C9-4D1E-8EF7-3A99EBCC7F36}"/>
          </ac:spMkLst>
        </pc:spChg>
      </pc:sldChg>
      <pc:sldChg chg="addSp modSp add mod">
        <pc:chgData name="Wong, Alyssa" userId="80601413-c4b2-43cf-bfa4-9deab8bc0ad4" providerId="ADAL" clId="{FC0F3564-909F-4E85-A869-081C389E7D24}" dt="2024-01-03T19:41:34.329" v="2699" actId="1076"/>
        <pc:sldMkLst>
          <pc:docMk/>
          <pc:sldMk cId="1154993897" sldId="2147472396"/>
        </pc:sldMkLst>
        <pc:spChg chg="mod">
          <ac:chgData name="Wong, Alyssa" userId="80601413-c4b2-43cf-bfa4-9deab8bc0ad4" providerId="ADAL" clId="{FC0F3564-909F-4E85-A869-081C389E7D24}" dt="2024-01-03T19:34:21.968" v="2664" actId="1076"/>
          <ac:spMkLst>
            <pc:docMk/>
            <pc:sldMk cId="1154993897" sldId="2147472396"/>
            <ac:spMk id="3" creationId="{5499176A-FCE7-3906-CE04-E2AD0E9EB186}"/>
          </ac:spMkLst>
        </pc:spChg>
        <pc:spChg chg="add mod">
          <ac:chgData name="Wong, Alyssa" userId="80601413-c4b2-43cf-bfa4-9deab8bc0ad4" providerId="ADAL" clId="{FC0F3564-909F-4E85-A869-081C389E7D24}" dt="2024-01-03T19:40:36.789" v="2696"/>
          <ac:spMkLst>
            <pc:docMk/>
            <pc:sldMk cId="1154993897" sldId="2147472396"/>
            <ac:spMk id="5" creationId="{1F104CD5-7A08-0C65-98CD-37DC74E4FA6F}"/>
          </ac:spMkLst>
        </pc:spChg>
        <pc:spChg chg="mod">
          <ac:chgData name="Wong, Alyssa" userId="80601413-c4b2-43cf-bfa4-9deab8bc0ad4" providerId="ADAL" clId="{FC0F3564-909F-4E85-A869-081C389E7D24}" dt="2024-01-03T17:49:45.580" v="2004" actId="20577"/>
          <ac:spMkLst>
            <pc:docMk/>
            <pc:sldMk cId="1154993897" sldId="2147472396"/>
            <ac:spMk id="24" creationId="{964923DB-2256-419B-A063-3239D1FC888E}"/>
          </ac:spMkLst>
        </pc:spChg>
        <pc:picChg chg="add mod">
          <ac:chgData name="Wong, Alyssa" userId="80601413-c4b2-43cf-bfa4-9deab8bc0ad4" providerId="ADAL" clId="{FC0F3564-909F-4E85-A869-081C389E7D24}" dt="2024-01-03T19:41:34.329" v="2699" actId="1076"/>
          <ac:picMkLst>
            <pc:docMk/>
            <pc:sldMk cId="1154993897" sldId="2147472396"/>
            <ac:picMk id="4" creationId="{A81A362D-6AAB-D306-8E29-54AA250B3A1F}"/>
          </ac:picMkLst>
        </pc:picChg>
      </pc:sldChg>
      <pc:sldChg chg="del">
        <pc:chgData name="Wong, Alyssa" userId="80601413-c4b2-43cf-bfa4-9deab8bc0ad4" providerId="ADAL" clId="{FC0F3564-909F-4E85-A869-081C389E7D24}" dt="2024-01-03T17:42:19.009" v="1891" actId="47"/>
        <pc:sldMkLst>
          <pc:docMk/>
          <pc:sldMk cId="2776307867" sldId="2147472396"/>
        </pc:sldMkLst>
      </pc:sldChg>
      <pc:sldChg chg="addSp delSp modSp del mod">
        <pc:chgData name="Wong, Alyssa" userId="80601413-c4b2-43cf-bfa4-9deab8bc0ad4" providerId="ADAL" clId="{FC0F3564-909F-4E85-A869-081C389E7D24}" dt="2024-01-04T19:50:36.016" v="3234" actId="47"/>
        <pc:sldMkLst>
          <pc:docMk/>
          <pc:sldMk cId="628887419" sldId="2147472424"/>
        </pc:sldMkLst>
        <pc:spChg chg="mod">
          <ac:chgData name="Wong, Alyssa" userId="80601413-c4b2-43cf-bfa4-9deab8bc0ad4" providerId="ADAL" clId="{FC0F3564-909F-4E85-A869-081C389E7D24}" dt="2024-01-03T18:41:43.169" v="2362" actId="20577"/>
          <ac:spMkLst>
            <pc:docMk/>
            <pc:sldMk cId="628887419" sldId="2147472424"/>
            <ac:spMk id="2" creationId="{456C2753-9C97-152B-FE0E-BA7A87ABBD54}"/>
          </ac:spMkLst>
        </pc:spChg>
        <pc:spChg chg="add del">
          <ac:chgData name="Wong, Alyssa" userId="80601413-c4b2-43cf-bfa4-9deab8bc0ad4" providerId="ADAL" clId="{FC0F3564-909F-4E85-A869-081C389E7D24}" dt="2024-01-04T19:50:20.435" v="3232" actId="22"/>
          <ac:spMkLst>
            <pc:docMk/>
            <pc:sldMk cId="628887419" sldId="2147472424"/>
            <ac:spMk id="5" creationId="{55F03204-E220-74FC-CC6F-F2AC3A651569}"/>
          </ac:spMkLst>
        </pc:spChg>
      </pc:sldChg>
      <pc:sldChg chg="addSp modSp mod">
        <pc:chgData name="Wong, Alyssa" userId="80601413-c4b2-43cf-bfa4-9deab8bc0ad4" providerId="ADAL" clId="{FC0F3564-909F-4E85-A869-081C389E7D24}" dt="2024-01-04T22:04:00.768" v="3241" actId="20577"/>
        <pc:sldMkLst>
          <pc:docMk/>
          <pc:sldMk cId="2667970515" sldId="2147472425"/>
        </pc:sldMkLst>
        <pc:spChg chg="add mod">
          <ac:chgData name="Wong, Alyssa" userId="80601413-c4b2-43cf-bfa4-9deab8bc0ad4" providerId="ADAL" clId="{FC0F3564-909F-4E85-A869-081C389E7D24}" dt="2024-01-03T18:50:11.670" v="2629" actId="20577"/>
          <ac:spMkLst>
            <pc:docMk/>
            <pc:sldMk cId="2667970515" sldId="2147472425"/>
            <ac:spMk id="2" creationId="{BCE2DEFC-7EB0-39D9-59B0-8838DAA6D5E0}"/>
          </ac:spMkLst>
        </pc:spChg>
        <pc:spChg chg="add mod">
          <ac:chgData name="Wong, Alyssa" userId="80601413-c4b2-43cf-bfa4-9deab8bc0ad4" providerId="ADAL" clId="{FC0F3564-909F-4E85-A869-081C389E7D24}" dt="2024-01-03T20:06:41.198" v="2733" actId="1076"/>
          <ac:spMkLst>
            <pc:docMk/>
            <pc:sldMk cId="2667970515" sldId="2147472425"/>
            <ac:spMk id="3" creationId="{170CE1E2-BA76-76D7-9A58-195D90BCC903}"/>
          </ac:spMkLst>
        </pc:spChg>
        <pc:spChg chg="mod">
          <ac:chgData name="Wong, Alyssa" userId="80601413-c4b2-43cf-bfa4-9deab8bc0ad4" providerId="ADAL" clId="{FC0F3564-909F-4E85-A869-081C389E7D24}" dt="2024-01-04T22:04:00.768" v="3241" actId="20577"/>
          <ac:spMkLst>
            <pc:docMk/>
            <pc:sldMk cId="2667970515" sldId="2147472425"/>
            <ac:spMk id="8" creationId="{CFFD6CDD-B17F-5326-5ED1-CB1A9404D6C0}"/>
          </ac:spMkLst>
        </pc:spChg>
        <pc:spChg chg="mod">
          <ac:chgData name="Wong, Alyssa" userId="80601413-c4b2-43cf-bfa4-9deab8bc0ad4" providerId="ADAL" clId="{FC0F3564-909F-4E85-A869-081C389E7D24}" dt="2024-01-03T20:06:12.185" v="2731" actId="20577"/>
          <ac:spMkLst>
            <pc:docMk/>
            <pc:sldMk cId="2667970515" sldId="2147472425"/>
            <ac:spMk id="10" creationId="{4E1D30F1-2CF8-56E6-473D-CEACD5D5DC75}"/>
          </ac:spMkLst>
        </pc:spChg>
        <pc:spChg chg="mod">
          <ac:chgData name="Wong, Alyssa" userId="80601413-c4b2-43cf-bfa4-9deab8bc0ad4" providerId="ADAL" clId="{FC0F3564-909F-4E85-A869-081C389E7D24}" dt="2024-01-03T18:38:23.906" v="2091" actId="20577"/>
          <ac:spMkLst>
            <pc:docMk/>
            <pc:sldMk cId="2667970515" sldId="2147472425"/>
            <ac:spMk id="16" creationId="{3EEDA334-D057-44BE-8283-82F38687D121}"/>
          </ac:spMkLst>
        </pc:spChg>
      </pc:sldChg>
      <pc:sldChg chg="modSp add mod ord">
        <pc:chgData name="Wong, Alyssa" userId="80601413-c4b2-43cf-bfa4-9deab8bc0ad4" providerId="ADAL" clId="{FC0F3564-909F-4E85-A869-081C389E7D24}" dt="2024-01-03T19:47:42.988" v="2716" actId="20577"/>
        <pc:sldMkLst>
          <pc:docMk/>
          <pc:sldMk cId="2730096320" sldId="2147472426"/>
        </pc:sldMkLst>
        <pc:spChg chg="mod">
          <ac:chgData name="Wong, Alyssa" userId="80601413-c4b2-43cf-bfa4-9deab8bc0ad4" providerId="ADAL" clId="{FC0F3564-909F-4E85-A869-081C389E7D24}" dt="2024-01-03T19:47:42.988" v="2716" actId="20577"/>
          <ac:spMkLst>
            <pc:docMk/>
            <pc:sldMk cId="2730096320" sldId="2147472426"/>
            <ac:spMk id="3" creationId="{DBE128BB-F9C9-4D1E-8EF7-3A99EBCC7F36}"/>
          </ac:spMkLst>
        </pc:spChg>
      </pc:sldChg>
      <pc:sldChg chg="addSp delSp modSp add mod addCm delCm modCm">
        <pc:chgData name="Wong, Alyssa" userId="80601413-c4b2-43cf-bfa4-9deab8bc0ad4" providerId="ADAL" clId="{FC0F3564-909F-4E85-A869-081C389E7D24}" dt="2024-01-04T19:39:37.657" v="3230" actId="3626"/>
        <pc:sldMkLst>
          <pc:docMk/>
          <pc:sldMk cId="429889340" sldId="2147472427"/>
        </pc:sldMkLst>
        <pc:spChg chg="del">
          <ac:chgData name="Wong, Alyssa" userId="80601413-c4b2-43cf-bfa4-9deab8bc0ad4" providerId="ADAL" clId="{FC0F3564-909F-4E85-A869-081C389E7D24}" dt="2024-01-04T14:42:33.638" v="2794" actId="478"/>
          <ac:spMkLst>
            <pc:docMk/>
            <pc:sldMk cId="429889340" sldId="2147472427"/>
            <ac:spMk id="2" creationId="{A33EAA32-82C4-0F58-CEEF-B158BA47AD40}"/>
          </ac:spMkLst>
        </pc:spChg>
        <pc:spChg chg="add mod">
          <ac:chgData name="Wong, Alyssa" userId="80601413-c4b2-43cf-bfa4-9deab8bc0ad4" providerId="ADAL" clId="{FC0F3564-909F-4E85-A869-081C389E7D24}" dt="2024-01-04T14:56:53.316" v="3124" actId="1076"/>
          <ac:spMkLst>
            <pc:docMk/>
            <pc:sldMk cId="429889340" sldId="2147472427"/>
            <ac:spMk id="3" creationId="{57CB99C1-0E8C-3C66-B96E-0954E2EDF1DD}"/>
          </ac:spMkLst>
        </pc:spChg>
        <pc:spChg chg="add mod">
          <ac:chgData name="Wong, Alyssa" userId="80601413-c4b2-43cf-bfa4-9deab8bc0ad4" providerId="ADAL" clId="{FC0F3564-909F-4E85-A869-081C389E7D24}" dt="2024-01-04T14:48:41.112" v="2905" actId="164"/>
          <ac:spMkLst>
            <pc:docMk/>
            <pc:sldMk cId="429889340" sldId="2147472427"/>
            <ac:spMk id="4" creationId="{5CEBD7F4-21D0-1A61-6C58-76438FB9D00D}"/>
          </ac:spMkLst>
        </pc:spChg>
        <pc:spChg chg="del">
          <ac:chgData name="Wong, Alyssa" userId="80601413-c4b2-43cf-bfa4-9deab8bc0ad4" providerId="ADAL" clId="{FC0F3564-909F-4E85-A869-081C389E7D24}" dt="2024-01-04T14:42:33.638" v="2794" actId="478"/>
          <ac:spMkLst>
            <pc:docMk/>
            <pc:sldMk cId="429889340" sldId="2147472427"/>
            <ac:spMk id="5" creationId="{794A803D-844E-1D91-B3F7-73597847BE1B}"/>
          </ac:spMkLst>
        </pc:spChg>
        <pc:spChg chg="add mod">
          <ac:chgData name="Wong, Alyssa" userId="80601413-c4b2-43cf-bfa4-9deab8bc0ad4" providerId="ADAL" clId="{FC0F3564-909F-4E85-A869-081C389E7D24}" dt="2024-01-04T14:48:41.112" v="2905" actId="164"/>
          <ac:spMkLst>
            <pc:docMk/>
            <pc:sldMk cId="429889340" sldId="2147472427"/>
            <ac:spMk id="6" creationId="{4085B23E-3D62-7DFA-F301-E9A5091662A1}"/>
          </ac:spMkLst>
        </pc:spChg>
        <pc:spChg chg="add mod">
          <ac:chgData name="Wong, Alyssa" userId="80601413-c4b2-43cf-bfa4-9deab8bc0ad4" providerId="ADAL" clId="{FC0F3564-909F-4E85-A869-081C389E7D24}" dt="2024-01-04T14:48:41.112" v="2905" actId="164"/>
          <ac:spMkLst>
            <pc:docMk/>
            <pc:sldMk cId="429889340" sldId="2147472427"/>
            <ac:spMk id="8" creationId="{4D92C891-14B5-5173-C110-6FF525D31583}"/>
          </ac:spMkLst>
        </pc:spChg>
        <pc:spChg chg="add mod">
          <ac:chgData name="Wong, Alyssa" userId="80601413-c4b2-43cf-bfa4-9deab8bc0ad4" providerId="ADAL" clId="{FC0F3564-909F-4E85-A869-081C389E7D24}" dt="2024-01-04T14:48:41.112" v="2905" actId="164"/>
          <ac:spMkLst>
            <pc:docMk/>
            <pc:sldMk cId="429889340" sldId="2147472427"/>
            <ac:spMk id="9" creationId="{3A4FF56A-DB4A-5362-CA01-1D689D84FC1E}"/>
          </ac:spMkLst>
        </pc:spChg>
        <pc:spChg chg="mod">
          <ac:chgData name="Wong, Alyssa" userId="80601413-c4b2-43cf-bfa4-9deab8bc0ad4" providerId="ADAL" clId="{FC0F3564-909F-4E85-A869-081C389E7D24}" dt="2024-01-04T19:35:48.953" v="3142" actId="207"/>
          <ac:spMkLst>
            <pc:docMk/>
            <pc:sldMk cId="429889340" sldId="2147472427"/>
            <ac:spMk id="10" creationId="{4E1D30F1-2CF8-56E6-473D-CEACD5D5DC75}"/>
          </ac:spMkLst>
        </pc:spChg>
        <pc:spChg chg="add del mod">
          <ac:chgData name="Wong, Alyssa" userId="80601413-c4b2-43cf-bfa4-9deab8bc0ad4" providerId="ADAL" clId="{FC0F3564-909F-4E85-A869-081C389E7D24}" dt="2024-01-04T14:49:04.138" v="2908"/>
          <ac:spMkLst>
            <pc:docMk/>
            <pc:sldMk cId="429889340" sldId="2147472427"/>
            <ac:spMk id="12" creationId="{B74ACC4A-B216-E506-3D48-C39831A9B3BC}"/>
          </ac:spMkLst>
        </pc:spChg>
        <pc:spChg chg="add mod">
          <ac:chgData name="Wong, Alyssa" userId="80601413-c4b2-43cf-bfa4-9deab8bc0ad4" providerId="ADAL" clId="{FC0F3564-909F-4E85-A869-081C389E7D24}" dt="2024-01-04T19:39:37.657" v="3230" actId="3626"/>
          <ac:spMkLst>
            <pc:docMk/>
            <pc:sldMk cId="429889340" sldId="2147472427"/>
            <ac:spMk id="13" creationId="{C95E361D-6A5A-A1FA-858C-8EAB85C062D4}"/>
          </ac:spMkLst>
        </pc:spChg>
        <pc:spChg chg="add mod">
          <ac:chgData name="Wong, Alyssa" userId="80601413-c4b2-43cf-bfa4-9deab8bc0ad4" providerId="ADAL" clId="{FC0F3564-909F-4E85-A869-081C389E7D24}" dt="2024-01-04T19:38:17.693" v="3226" actId="20577"/>
          <ac:spMkLst>
            <pc:docMk/>
            <pc:sldMk cId="429889340" sldId="2147472427"/>
            <ac:spMk id="14" creationId="{41509C4B-E3A1-EB73-C3CE-F099851C2D33}"/>
          </ac:spMkLst>
        </pc:spChg>
        <pc:spChg chg="mod">
          <ac:chgData name="Wong, Alyssa" userId="80601413-c4b2-43cf-bfa4-9deab8bc0ad4" providerId="ADAL" clId="{FC0F3564-909F-4E85-A869-081C389E7D24}" dt="2024-01-04T18:22:11.290" v="3134" actId="20577"/>
          <ac:spMkLst>
            <pc:docMk/>
            <pc:sldMk cId="429889340" sldId="2147472427"/>
            <ac:spMk id="16" creationId="{3EEDA334-D057-44BE-8283-82F38687D121}"/>
          </ac:spMkLst>
        </pc:spChg>
        <pc:grpChg chg="add mod">
          <ac:chgData name="Wong, Alyssa" userId="80601413-c4b2-43cf-bfa4-9deab8bc0ad4" providerId="ADAL" clId="{FC0F3564-909F-4E85-A869-081C389E7D24}" dt="2024-01-04T14:48:44.935" v="2906" actId="1076"/>
          <ac:grpSpMkLst>
            <pc:docMk/>
            <pc:sldMk cId="429889340" sldId="2147472427"/>
            <ac:grpSpMk id="11" creationId="{7277D42B-531D-2B1F-FB7E-B6AE9F310676}"/>
          </ac:grpSpMkLst>
        </pc:grpChg>
        <pc:cxnChg chg="del">
          <ac:chgData name="Wong, Alyssa" userId="80601413-c4b2-43cf-bfa4-9deab8bc0ad4" providerId="ADAL" clId="{FC0F3564-909F-4E85-A869-081C389E7D24}" dt="2024-01-04T14:42:35.537" v="2795" actId="478"/>
          <ac:cxnSpMkLst>
            <pc:docMk/>
            <pc:sldMk cId="429889340" sldId="2147472427"/>
            <ac:cxnSpMk id="7" creationId="{0B7CD33A-8F58-241F-6847-C743EADE532F}"/>
          </ac:cxnSpMkLst>
        </pc:cxnChg>
      </pc:sldChg>
      <pc:sldChg chg="addSp modSp new del mod">
        <pc:chgData name="Wong, Alyssa" userId="80601413-c4b2-43cf-bfa4-9deab8bc0ad4" providerId="ADAL" clId="{FC0F3564-909F-4E85-A869-081C389E7D24}" dt="2024-01-04T14:38:02.006" v="2789" actId="47"/>
        <pc:sldMkLst>
          <pc:docMk/>
          <pc:sldMk cId="3175194987" sldId="2147472427"/>
        </pc:sldMkLst>
        <pc:spChg chg="add mod">
          <ac:chgData name="Wong, Alyssa" userId="80601413-c4b2-43cf-bfa4-9deab8bc0ad4" providerId="ADAL" clId="{FC0F3564-909F-4E85-A869-081C389E7D24}" dt="2024-01-04T14:25:41.439" v="2781" actId="1076"/>
          <ac:spMkLst>
            <pc:docMk/>
            <pc:sldMk cId="3175194987" sldId="2147472427"/>
            <ac:spMk id="3" creationId="{51F29BB3-8876-C204-2CB0-4FF410EE470C}"/>
          </ac:spMkLst>
        </pc:spChg>
        <pc:spChg chg="add mod">
          <ac:chgData name="Wong, Alyssa" userId="80601413-c4b2-43cf-bfa4-9deab8bc0ad4" providerId="ADAL" clId="{FC0F3564-909F-4E85-A869-081C389E7D24}" dt="2024-01-04T14:25:41.439" v="2781" actId="1076"/>
          <ac:spMkLst>
            <pc:docMk/>
            <pc:sldMk cId="3175194987" sldId="2147472427"/>
            <ac:spMk id="4" creationId="{EDF0EE15-EF24-33D2-373F-79A1C43A5B4D}"/>
          </ac:spMkLst>
        </pc:spChg>
        <pc:spChg chg="add mod">
          <ac:chgData name="Wong, Alyssa" userId="80601413-c4b2-43cf-bfa4-9deab8bc0ad4" providerId="ADAL" clId="{FC0F3564-909F-4E85-A869-081C389E7D24}" dt="2024-01-04T14:25:41.439" v="2781" actId="1076"/>
          <ac:spMkLst>
            <pc:docMk/>
            <pc:sldMk cId="3175194987" sldId="2147472427"/>
            <ac:spMk id="5" creationId="{8DDDC1A7-F2A5-2D3E-F477-0710596DBF50}"/>
          </ac:spMkLst>
        </pc:spChg>
        <pc:spChg chg="add mod">
          <ac:chgData name="Wong, Alyssa" userId="80601413-c4b2-43cf-bfa4-9deab8bc0ad4" providerId="ADAL" clId="{FC0F3564-909F-4E85-A869-081C389E7D24}" dt="2024-01-04T14:25:41.439" v="2781" actId="1076"/>
          <ac:spMkLst>
            <pc:docMk/>
            <pc:sldMk cId="3175194987" sldId="2147472427"/>
            <ac:spMk id="6" creationId="{5440D4D1-F97F-8BB8-25BD-C0230099903B}"/>
          </ac:spMkLst>
        </pc:spChg>
        <pc:spChg chg="add mod">
          <ac:chgData name="Wong, Alyssa" userId="80601413-c4b2-43cf-bfa4-9deab8bc0ad4" providerId="ADAL" clId="{FC0F3564-909F-4E85-A869-081C389E7D24}" dt="2024-01-04T14:25:41.439" v="2781" actId="1076"/>
          <ac:spMkLst>
            <pc:docMk/>
            <pc:sldMk cId="3175194987" sldId="2147472427"/>
            <ac:spMk id="7" creationId="{494E1FA7-63BC-46C9-D322-3F995FE0A6CB}"/>
          </ac:spMkLst>
        </pc:spChg>
        <pc:spChg chg="add mod">
          <ac:chgData name="Wong, Alyssa" userId="80601413-c4b2-43cf-bfa4-9deab8bc0ad4" providerId="ADAL" clId="{FC0F3564-909F-4E85-A869-081C389E7D24}" dt="2024-01-04T14:25:48.874" v="2783" actId="1076"/>
          <ac:spMkLst>
            <pc:docMk/>
            <pc:sldMk cId="3175194987" sldId="2147472427"/>
            <ac:spMk id="8" creationId="{DE97806B-E306-58D6-34B7-8C7B88EB9003}"/>
          </ac:spMkLst>
        </pc:spChg>
        <pc:spChg chg="add mod">
          <ac:chgData name="Wong, Alyssa" userId="80601413-c4b2-43cf-bfa4-9deab8bc0ad4" providerId="ADAL" clId="{FC0F3564-909F-4E85-A869-081C389E7D24}" dt="2024-01-04T14:25:48.874" v="2783" actId="1076"/>
          <ac:spMkLst>
            <pc:docMk/>
            <pc:sldMk cId="3175194987" sldId="2147472427"/>
            <ac:spMk id="9" creationId="{AE250509-9759-90E7-8BA8-97A1D1C0C334}"/>
          </ac:spMkLst>
        </pc:spChg>
        <pc:spChg chg="add mod">
          <ac:chgData name="Wong, Alyssa" userId="80601413-c4b2-43cf-bfa4-9deab8bc0ad4" providerId="ADAL" clId="{FC0F3564-909F-4E85-A869-081C389E7D24}" dt="2024-01-04T14:25:48.874" v="2783" actId="1076"/>
          <ac:spMkLst>
            <pc:docMk/>
            <pc:sldMk cId="3175194987" sldId="2147472427"/>
            <ac:spMk id="10" creationId="{196D0772-B14D-12ED-B826-A4C0C6AC96F5}"/>
          </ac:spMkLst>
        </pc:spChg>
        <pc:spChg chg="add mod">
          <ac:chgData name="Wong, Alyssa" userId="80601413-c4b2-43cf-bfa4-9deab8bc0ad4" providerId="ADAL" clId="{FC0F3564-909F-4E85-A869-081C389E7D24}" dt="2024-01-04T14:25:48.874" v="2783" actId="1076"/>
          <ac:spMkLst>
            <pc:docMk/>
            <pc:sldMk cId="3175194987" sldId="2147472427"/>
            <ac:spMk id="11" creationId="{931D8EEB-F9ED-E818-00B7-97E652B2EBBE}"/>
          </ac:spMkLst>
        </pc:spChg>
        <pc:spChg chg="add mod">
          <ac:chgData name="Wong, Alyssa" userId="80601413-c4b2-43cf-bfa4-9deab8bc0ad4" providerId="ADAL" clId="{FC0F3564-909F-4E85-A869-081C389E7D24}" dt="2024-01-04T14:25:48.874" v="2783" actId="1076"/>
          <ac:spMkLst>
            <pc:docMk/>
            <pc:sldMk cId="3175194987" sldId="2147472427"/>
            <ac:spMk id="12" creationId="{A23A24FC-B666-B117-0D77-C9F66F0B5C24}"/>
          </ac:spMkLst>
        </pc:spChg>
      </pc:sldChg>
      <pc:sldChg chg="modSp add mod modShow">
        <pc:chgData name="Wong, Alyssa" userId="80601413-c4b2-43cf-bfa4-9deab8bc0ad4" providerId="ADAL" clId="{FC0F3564-909F-4E85-A869-081C389E7D24}" dt="2024-01-08T18:50:12.408" v="3410" actId="729"/>
        <pc:sldMkLst>
          <pc:docMk/>
          <pc:sldMk cId="2469498106" sldId="2147472428"/>
        </pc:sldMkLst>
        <pc:spChg chg="mod">
          <ac:chgData name="Wong, Alyssa" userId="80601413-c4b2-43cf-bfa4-9deab8bc0ad4" providerId="ADAL" clId="{FC0F3564-909F-4E85-A869-081C389E7D24}" dt="2024-01-04T19:36:16.133" v="3160" actId="20577"/>
          <ac:spMkLst>
            <pc:docMk/>
            <pc:sldMk cId="2469498106" sldId="2147472428"/>
            <ac:spMk id="3" creationId="{DBE128BB-F9C9-4D1E-8EF7-3A99EBCC7F36}"/>
          </ac:spMkLst>
        </pc:spChg>
      </pc:sldChg>
      <pc:sldChg chg="addSp delSp modSp add">
        <pc:chgData name="Wong, Alyssa" userId="80601413-c4b2-43cf-bfa4-9deab8bc0ad4" providerId="ADAL" clId="{FC0F3564-909F-4E85-A869-081C389E7D24}" dt="2024-01-08T20:39:03.977" v="3492"/>
        <pc:sldMkLst>
          <pc:docMk/>
          <pc:sldMk cId="1089598192" sldId="2147472429"/>
        </pc:sldMkLst>
        <pc:spChg chg="add del mod">
          <ac:chgData name="Wong, Alyssa" userId="80601413-c4b2-43cf-bfa4-9deab8bc0ad4" providerId="ADAL" clId="{FC0F3564-909F-4E85-A869-081C389E7D24}" dt="2024-01-08T20:39:03.977" v="3492"/>
          <ac:spMkLst>
            <pc:docMk/>
            <pc:sldMk cId="1089598192" sldId="2147472429"/>
            <ac:spMk id="4" creationId="{21176ABA-254A-4178-3E60-400101268863}"/>
          </ac:spMkLst>
        </pc:spChg>
      </pc:sldChg>
      <pc:sldChg chg="addSp delSp modSp add mod">
        <pc:chgData name="Wong, Alyssa" userId="80601413-c4b2-43cf-bfa4-9deab8bc0ad4" providerId="ADAL" clId="{FC0F3564-909F-4E85-A869-081C389E7D24}" dt="2024-01-08T20:51:25.102" v="3583" actId="20577"/>
        <pc:sldMkLst>
          <pc:docMk/>
          <pc:sldMk cId="1863651596" sldId="2147472430"/>
        </pc:sldMkLst>
        <pc:spChg chg="del mod">
          <ac:chgData name="Wong, Alyssa" userId="80601413-c4b2-43cf-bfa4-9deab8bc0ad4" providerId="ADAL" clId="{FC0F3564-909F-4E85-A869-081C389E7D24}" dt="2024-01-05T19:37:55.074" v="3311" actId="478"/>
          <ac:spMkLst>
            <pc:docMk/>
            <pc:sldMk cId="1863651596" sldId="2147472430"/>
            <ac:spMk id="2" creationId="{BCE2DEFC-7EB0-39D9-59B0-8838DAA6D5E0}"/>
          </ac:spMkLst>
        </pc:spChg>
        <pc:spChg chg="add mod">
          <ac:chgData name="Wong, Alyssa" userId="80601413-c4b2-43cf-bfa4-9deab8bc0ad4" providerId="ADAL" clId="{FC0F3564-909F-4E85-A869-081C389E7D24}" dt="2024-01-08T20:51:25.102" v="3583" actId="20577"/>
          <ac:spMkLst>
            <pc:docMk/>
            <pc:sldMk cId="1863651596" sldId="2147472430"/>
            <ac:spMk id="2" creationId="{DD29E908-1232-F39B-ABDC-188B3BF31408}"/>
          </ac:spMkLst>
        </pc:spChg>
        <pc:spChg chg="del">
          <ac:chgData name="Wong, Alyssa" userId="80601413-c4b2-43cf-bfa4-9deab8bc0ad4" providerId="ADAL" clId="{FC0F3564-909F-4E85-A869-081C389E7D24}" dt="2024-01-05T19:37:58.483" v="3312" actId="478"/>
          <ac:spMkLst>
            <pc:docMk/>
            <pc:sldMk cId="1863651596" sldId="2147472430"/>
            <ac:spMk id="3" creationId="{170CE1E2-BA76-76D7-9A58-195D90BCC903}"/>
          </ac:spMkLst>
        </pc:spChg>
        <pc:spChg chg="mod">
          <ac:chgData name="Wong, Alyssa" userId="80601413-c4b2-43cf-bfa4-9deab8bc0ad4" providerId="ADAL" clId="{FC0F3564-909F-4E85-A869-081C389E7D24}" dt="2024-01-05T20:04:42.991" v="3404" actId="20577"/>
          <ac:spMkLst>
            <pc:docMk/>
            <pc:sldMk cId="1863651596" sldId="2147472430"/>
            <ac:spMk id="8" creationId="{CFFD6CDD-B17F-5326-5ED1-CB1A9404D6C0}"/>
          </ac:spMkLst>
        </pc:spChg>
        <pc:spChg chg="mod">
          <ac:chgData name="Wong, Alyssa" userId="80601413-c4b2-43cf-bfa4-9deab8bc0ad4" providerId="ADAL" clId="{FC0F3564-909F-4E85-A869-081C389E7D24}" dt="2024-01-08T20:38:32.371" v="3441" actId="20577"/>
          <ac:spMkLst>
            <pc:docMk/>
            <pc:sldMk cId="1863651596" sldId="2147472430"/>
            <ac:spMk id="10" creationId="{4E1D30F1-2CF8-56E6-473D-CEACD5D5DC75}"/>
          </ac:spMkLst>
        </pc:spChg>
      </pc:sldChg>
      <pc:sldChg chg="addSp modSp add mod">
        <pc:chgData name="Wong, Alyssa" userId="80601413-c4b2-43cf-bfa4-9deab8bc0ad4" providerId="ADAL" clId="{FC0F3564-909F-4E85-A869-081C389E7D24}" dt="2024-01-08T20:51:21.265" v="3578" actId="20577"/>
        <pc:sldMkLst>
          <pc:docMk/>
          <pc:sldMk cId="3337750276" sldId="2147472431"/>
        </pc:sldMkLst>
        <pc:spChg chg="add mod">
          <ac:chgData name="Wong, Alyssa" userId="80601413-c4b2-43cf-bfa4-9deab8bc0ad4" providerId="ADAL" clId="{FC0F3564-909F-4E85-A869-081C389E7D24}" dt="2024-01-08T20:51:21.265" v="3578" actId="20577"/>
          <ac:spMkLst>
            <pc:docMk/>
            <pc:sldMk cId="3337750276" sldId="2147472431"/>
            <ac:spMk id="2" creationId="{D9673D19-7E67-2EC2-BCE9-93711C893F3D}"/>
          </ac:spMkLst>
        </pc:spChg>
        <pc:spChg chg="mod">
          <ac:chgData name="Wong, Alyssa" userId="80601413-c4b2-43cf-bfa4-9deab8bc0ad4" providerId="ADAL" clId="{FC0F3564-909F-4E85-A869-081C389E7D24}" dt="2024-01-05T19:53:38.017" v="3400" actId="20577"/>
          <ac:spMkLst>
            <pc:docMk/>
            <pc:sldMk cId="3337750276" sldId="2147472431"/>
            <ac:spMk id="8" creationId="{CFFD6CDD-B17F-5326-5ED1-CB1A9404D6C0}"/>
          </ac:spMkLst>
        </pc:spChg>
      </pc:sldChg>
      <pc:sldChg chg="addSp delSp modSp new mod">
        <pc:chgData name="Wong, Alyssa" userId="80601413-c4b2-43cf-bfa4-9deab8bc0ad4" providerId="ADAL" clId="{FC0F3564-909F-4E85-A869-081C389E7D24}" dt="2024-01-05T20:32:43.846" v="3409" actId="962"/>
        <pc:sldMkLst>
          <pc:docMk/>
          <pc:sldMk cId="3080203027" sldId="2147472432"/>
        </pc:sldMkLst>
        <pc:spChg chg="del">
          <ac:chgData name="Wong, Alyssa" userId="80601413-c4b2-43cf-bfa4-9deab8bc0ad4" providerId="ADAL" clId="{FC0F3564-909F-4E85-A869-081C389E7D24}" dt="2024-01-05T20:32:29.826" v="3406" actId="478"/>
          <ac:spMkLst>
            <pc:docMk/>
            <pc:sldMk cId="3080203027" sldId="2147472432"/>
            <ac:spMk id="2" creationId="{C2473463-C9D0-0D5D-17E6-816BF15E4FAC}"/>
          </ac:spMkLst>
        </pc:spChg>
        <pc:picChg chg="add mod">
          <ac:chgData name="Wong, Alyssa" userId="80601413-c4b2-43cf-bfa4-9deab8bc0ad4" providerId="ADAL" clId="{FC0F3564-909F-4E85-A869-081C389E7D24}" dt="2024-01-05T20:32:43.846" v="3409" actId="962"/>
          <ac:picMkLst>
            <pc:docMk/>
            <pc:sldMk cId="3080203027" sldId="2147472432"/>
            <ac:picMk id="5" creationId="{FBABD96F-C8BD-9CFE-4E37-13AC8279CCB0}"/>
          </ac:picMkLst>
        </pc:picChg>
      </pc:sldChg>
      <pc:sldMasterChg chg="addSldLayout modSldLayout">
        <pc:chgData name="Wong, Alyssa" userId="80601413-c4b2-43cf-bfa4-9deab8bc0ad4" providerId="ADAL" clId="{FC0F3564-909F-4E85-A869-081C389E7D24}" dt="2024-01-02T22:01:46.126" v="1640" actId="11236"/>
        <pc:sldMasterMkLst>
          <pc:docMk/>
          <pc:sldMasterMk cId="2289231735" sldId="2147483648"/>
        </pc:sldMasterMkLst>
        <pc:sldLayoutChg chg="new mod">
          <pc:chgData name="Wong, Alyssa" userId="80601413-c4b2-43cf-bfa4-9deab8bc0ad4" providerId="ADAL" clId="{FC0F3564-909F-4E85-A869-081C389E7D24}" dt="2024-01-02T22:01:46.126" v="1640" actId="11236"/>
          <pc:sldLayoutMkLst>
            <pc:docMk/>
            <pc:sldMasterMk cId="3254737585" sldId="2147484016"/>
            <pc:sldLayoutMk cId="4028281073" sldId="2147483854"/>
          </pc:sldLayoutMkLst>
        </pc:sldLayoutChg>
      </pc:sldMasterChg>
      <pc:sldMasterChg chg="delSldLayout">
        <pc:chgData name="Wong, Alyssa" userId="80601413-c4b2-43cf-bfa4-9deab8bc0ad4" providerId="ADAL" clId="{FC0F3564-909F-4E85-A869-081C389E7D24}" dt="2024-01-04T14:38:02.006" v="2789" actId="47"/>
        <pc:sldMasterMkLst>
          <pc:docMk/>
          <pc:sldMasterMk cId="3254737585" sldId="2147484016"/>
        </pc:sldMasterMkLst>
        <pc:sldLayoutChg chg="del">
          <pc:chgData name="Wong, Alyssa" userId="80601413-c4b2-43cf-bfa4-9deab8bc0ad4" providerId="ADAL" clId="{FC0F3564-909F-4E85-A869-081C389E7D24}" dt="2024-01-04T14:38:02.006" v="2789" actId="47"/>
          <pc:sldLayoutMkLst>
            <pc:docMk/>
            <pc:sldMasterMk cId="3254737585" sldId="2147484016"/>
            <pc:sldLayoutMk cId="2852595515" sldId="2147484033"/>
          </pc:sldLayoutMkLst>
        </pc:sldLayoutChg>
        <pc:sldLayoutChg chg="del">
          <pc:chgData name="Wong, Alyssa" userId="80601413-c4b2-43cf-bfa4-9deab8bc0ad4" providerId="ADAL" clId="{FC0F3564-909F-4E85-A869-081C389E7D24}" dt="2024-01-02T16:58:01.893" v="57" actId="47"/>
          <pc:sldLayoutMkLst>
            <pc:docMk/>
            <pc:sldMasterMk cId="3254737585" sldId="2147484016"/>
            <pc:sldLayoutMk cId="1789756569" sldId="2147484781"/>
          </pc:sldLayoutMkLst>
        </pc:sldLayoutChg>
      </pc:sldMasterChg>
      <pc:sldMasterChg chg="del delSldLayout">
        <pc:chgData name="Wong, Alyssa" userId="80601413-c4b2-43cf-bfa4-9deab8bc0ad4" providerId="ADAL" clId="{FC0F3564-909F-4E85-A869-081C389E7D24}" dt="2024-01-02T16:57:52.205" v="49" actId="47"/>
        <pc:sldMasterMkLst>
          <pc:docMk/>
          <pc:sldMasterMk cId="1108778091" sldId="2147484684"/>
        </pc:sldMasterMkLst>
        <pc:sldLayoutChg chg="del">
          <pc:chgData name="Wong, Alyssa" userId="80601413-c4b2-43cf-bfa4-9deab8bc0ad4" providerId="ADAL" clId="{FC0F3564-909F-4E85-A869-081C389E7D24}" dt="2024-01-02T16:57:52.205" v="49" actId="47"/>
          <pc:sldLayoutMkLst>
            <pc:docMk/>
            <pc:sldMasterMk cId="1108778091" sldId="2147484684"/>
            <pc:sldLayoutMk cId="2128587273" sldId="214748468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727775260" sldId="214748468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093484562" sldId="214748468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121320934" sldId="214748468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531278590" sldId="214748468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6218179" sldId="214748469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920814944" sldId="214748469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819911138" sldId="214748469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766212207" sldId="214748469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651408779" sldId="214748469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593193251" sldId="214748469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401967273" sldId="214748469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223208190" sldId="214748469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137091867" sldId="214748469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122208167" sldId="214748469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806856911" sldId="214748470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542297606" sldId="214748470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512262356" sldId="214748470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300711484" sldId="214748470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493944708" sldId="214748470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414957909" sldId="214748470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72508140" sldId="214748470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415105611" sldId="214748470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608315417" sldId="214748470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17226159" sldId="214748470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891941197" sldId="214748471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082419741" sldId="214748471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849460944" sldId="214748471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171599694" sldId="214748471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740663002" sldId="214748471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770233882" sldId="214748471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385424724" sldId="214748471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662646478" sldId="214748471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834158120" sldId="214748471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391021114" sldId="214748471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609072824" sldId="214748472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934213694" sldId="214748472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920634366" sldId="214748472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029957910" sldId="214748472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082989833" sldId="214748472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226688934" sldId="214748472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312399588" sldId="214748472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4094997065" sldId="214748472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678254143" sldId="214748472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669492588" sldId="214748472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02755603" sldId="214748473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704249829" sldId="214748473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561967816" sldId="214748473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466322996" sldId="214748473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762925534" sldId="214748473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88024554" sldId="214748473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273016324" sldId="214748473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84010266" sldId="214748473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460459860" sldId="214748473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685337376" sldId="214748473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297698275" sldId="214748474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833046603" sldId="214748474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178157034" sldId="214748474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698935698" sldId="214748474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675588327" sldId="214748474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204022609" sldId="214748474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4114606759" sldId="214748474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575120517" sldId="214748474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317119478" sldId="214748474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837364976" sldId="214748474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37135189" sldId="214748475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381907098" sldId="214748475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126512922" sldId="214748475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85063264" sldId="214748475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969217697" sldId="214748475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880220953" sldId="214748475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402194831" sldId="214748475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696862567" sldId="214748475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4248290162" sldId="214748475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961153894" sldId="214748475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958359152" sldId="214748476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4061396306" sldId="214748476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532216090" sldId="214748476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4076668405" sldId="214748476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55193535" sldId="214748476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439292190" sldId="214748476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724832169" sldId="214748476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814898176" sldId="214748476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381517341" sldId="214748476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815373459" sldId="214748476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456186278" sldId="2147484770"/>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846627868" sldId="2147484771"/>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066286454" sldId="2147484772"/>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776995585" sldId="2147484773"/>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1649957471" sldId="2147484774"/>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2918149968" sldId="2147484775"/>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98878340" sldId="2147484776"/>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583943723" sldId="2147484777"/>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4006871700" sldId="2147484778"/>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41214956" sldId="2147484779"/>
          </pc:sldLayoutMkLst>
        </pc:sldLayoutChg>
        <pc:sldLayoutChg chg="del">
          <pc:chgData name="Wong, Alyssa" userId="80601413-c4b2-43cf-bfa4-9deab8bc0ad4" providerId="ADAL" clId="{FC0F3564-909F-4E85-A869-081C389E7D24}" dt="2024-01-02T16:57:52.205" v="49" actId="47"/>
          <pc:sldLayoutMkLst>
            <pc:docMk/>
            <pc:sldMasterMk cId="1108778091" sldId="2147484684"/>
            <pc:sldLayoutMk cId="3150561044" sldId="2147484780"/>
          </pc:sldLayoutMkLst>
        </pc:sldLayoutChg>
      </pc:sldMasterChg>
      <pc:sldMasterChg chg="del delSldLayout">
        <pc:chgData name="Wong, Alyssa" userId="80601413-c4b2-43cf-bfa4-9deab8bc0ad4" providerId="ADAL" clId="{FC0F3564-909F-4E85-A869-081C389E7D24}" dt="2024-01-02T19:21:20.032" v="1065" actId="47"/>
        <pc:sldMasterMkLst>
          <pc:docMk/>
          <pc:sldMasterMk cId="1744254806" sldId="2147484782"/>
        </pc:sldMasterMkLst>
        <pc:sldLayoutChg chg="del">
          <pc:chgData name="Wong, Alyssa" userId="80601413-c4b2-43cf-bfa4-9deab8bc0ad4" providerId="ADAL" clId="{FC0F3564-909F-4E85-A869-081C389E7D24}" dt="2024-01-02T19:21:20.032" v="1065" actId="47"/>
          <pc:sldLayoutMkLst>
            <pc:docMk/>
            <pc:sldMasterMk cId="1744254806" sldId="2147484782"/>
            <pc:sldLayoutMk cId="1133270764" sldId="2147484783"/>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1107621962" sldId="2147484784"/>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3282674836" sldId="2147484785"/>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3461559522" sldId="2147484786"/>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80949200" sldId="2147484787"/>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4013945792" sldId="2147484788"/>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1695288914" sldId="2147484789"/>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2515675498" sldId="2147484790"/>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671148514" sldId="2147484791"/>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3273832763" sldId="2147484792"/>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177239900" sldId="2147484793"/>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4032358231" sldId="2147484794"/>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1452957410" sldId="2147484795"/>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2806481789" sldId="2147484796"/>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328481224" sldId="2147484797"/>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4089381145" sldId="2147484798"/>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3975319992" sldId="2147484799"/>
          </pc:sldLayoutMkLst>
        </pc:sldLayoutChg>
        <pc:sldLayoutChg chg="del">
          <pc:chgData name="Wong, Alyssa" userId="80601413-c4b2-43cf-bfa4-9deab8bc0ad4" providerId="ADAL" clId="{FC0F3564-909F-4E85-A869-081C389E7D24}" dt="2024-01-02T19:21:20.032" v="1065" actId="47"/>
          <pc:sldLayoutMkLst>
            <pc:docMk/>
            <pc:sldMasterMk cId="1744254806" sldId="2147484782"/>
            <pc:sldLayoutMk cId="196515721" sldId="2147484800"/>
          </pc:sldLayoutMkLst>
        </pc:sldLayoutChg>
      </pc:sldMasterChg>
      <pc:sldMasterChg chg="del delSldLayout">
        <pc:chgData name="Wong, Alyssa" userId="80601413-c4b2-43cf-bfa4-9deab8bc0ad4" providerId="ADAL" clId="{FC0F3564-909F-4E85-A869-081C389E7D24}" dt="2024-01-02T16:58:18.460" v="60" actId="47"/>
        <pc:sldMasterMkLst>
          <pc:docMk/>
          <pc:sldMasterMk cId="859531746" sldId="2147484801"/>
        </pc:sldMasterMkLst>
        <pc:sldLayoutChg chg="del">
          <pc:chgData name="Wong, Alyssa" userId="80601413-c4b2-43cf-bfa4-9deab8bc0ad4" providerId="ADAL" clId="{FC0F3564-909F-4E85-A869-081C389E7D24}" dt="2024-01-02T16:58:18.460" v="60" actId="47"/>
          <pc:sldLayoutMkLst>
            <pc:docMk/>
            <pc:sldMasterMk cId="859531746" sldId="2147484801"/>
            <pc:sldLayoutMk cId="4134233264" sldId="2147484802"/>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101683745" sldId="2147484803"/>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921010957" sldId="2147484804"/>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981483801" sldId="2147484805"/>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1921864869" sldId="2147484806"/>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2499812611" sldId="2147484807"/>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1138513875" sldId="2147484808"/>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3943764041" sldId="2147484809"/>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4272844606" sldId="2147484810"/>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2606610627" sldId="2147484811"/>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4013894404" sldId="2147484812"/>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1578266319" sldId="2147484813"/>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763374182" sldId="2147484814"/>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4215885291" sldId="2147484815"/>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1990533494" sldId="2147484816"/>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913376404" sldId="2147484817"/>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3619108845" sldId="2147484818"/>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3116612863" sldId="2147484819"/>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1780133555" sldId="2147484820"/>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122568433" sldId="2147484821"/>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3548608848" sldId="2147484822"/>
          </pc:sldLayoutMkLst>
        </pc:sldLayoutChg>
        <pc:sldLayoutChg chg="del">
          <pc:chgData name="Wong, Alyssa" userId="80601413-c4b2-43cf-bfa4-9deab8bc0ad4" providerId="ADAL" clId="{FC0F3564-909F-4E85-A869-081C389E7D24}" dt="2024-01-02T16:58:15.075" v="59" actId="47"/>
          <pc:sldLayoutMkLst>
            <pc:docMk/>
            <pc:sldMasterMk cId="859531746" sldId="2147484801"/>
            <pc:sldLayoutMk cId="3986776173" sldId="2147484823"/>
          </pc:sldLayoutMkLst>
        </pc:sldLayoutChg>
        <pc:sldLayoutChg chg="del">
          <pc:chgData name="Wong, Alyssa" userId="80601413-c4b2-43cf-bfa4-9deab8bc0ad4" providerId="ADAL" clId="{FC0F3564-909F-4E85-A869-081C389E7D24}" dt="2024-01-02T16:58:15.075" v="59" actId="47"/>
          <pc:sldLayoutMkLst>
            <pc:docMk/>
            <pc:sldMasterMk cId="859531746" sldId="2147484801"/>
            <pc:sldLayoutMk cId="3468870171" sldId="2147484824"/>
          </pc:sldLayoutMkLst>
        </pc:sldLayoutChg>
        <pc:sldLayoutChg chg="del">
          <pc:chgData name="Wong, Alyssa" userId="80601413-c4b2-43cf-bfa4-9deab8bc0ad4" providerId="ADAL" clId="{FC0F3564-909F-4E85-A869-081C389E7D24}" dt="2024-01-02T16:58:18.460" v="60" actId="47"/>
          <pc:sldLayoutMkLst>
            <pc:docMk/>
            <pc:sldMasterMk cId="859531746" sldId="2147484801"/>
            <pc:sldLayoutMk cId="3471065962" sldId="2147484825"/>
          </pc:sldLayoutMkLst>
        </pc:sldLayoutChg>
      </pc:sldMasterChg>
    </pc:docChg>
  </pc:docChgLst>
  <pc:docChgLst>
    <pc:chgData name="Cairo, Melissa" userId="9c3284db-e4c9-46f5-8a86-4334db81e17b" providerId="ADAL" clId="{047DDFB1-BBEE-4D32-BF07-0545DA2222AD}"/>
    <pc:docChg chg="undo custSel addSld delSld modSld sldOrd modSection">
      <pc:chgData name="Cairo, Melissa" userId="9c3284db-e4c9-46f5-8a86-4334db81e17b" providerId="ADAL" clId="{047DDFB1-BBEE-4D32-BF07-0545DA2222AD}" dt="2023-08-23T18:46:56.075" v="1065" actId="20577"/>
      <pc:docMkLst>
        <pc:docMk/>
      </pc:docMkLst>
      <pc:sldChg chg="modSp mod">
        <pc:chgData name="Cairo, Melissa" userId="9c3284db-e4c9-46f5-8a86-4334db81e17b" providerId="ADAL" clId="{047DDFB1-BBEE-4D32-BF07-0545DA2222AD}" dt="2023-08-22T04:16:33.360" v="1032" actId="255"/>
        <pc:sldMkLst>
          <pc:docMk/>
          <pc:sldMk cId="890227972" sldId="2147309685"/>
        </pc:sldMkLst>
        <pc:spChg chg="mod">
          <ac:chgData name="Cairo, Melissa" userId="9c3284db-e4c9-46f5-8a86-4334db81e17b" providerId="ADAL" clId="{047DDFB1-BBEE-4D32-BF07-0545DA2222AD}" dt="2023-08-22T04:16:33.360" v="1032" actId="255"/>
          <ac:spMkLst>
            <pc:docMk/>
            <pc:sldMk cId="890227972" sldId="2147309685"/>
            <ac:spMk id="39" creationId="{2850D06F-4CE8-41E4-851A-B3B972D04338}"/>
          </ac:spMkLst>
        </pc:spChg>
        <pc:spChg chg="mod">
          <ac:chgData name="Cairo, Melissa" userId="9c3284db-e4c9-46f5-8a86-4334db81e17b" providerId="ADAL" clId="{047DDFB1-BBEE-4D32-BF07-0545DA2222AD}" dt="2023-08-22T04:16:33.360" v="1032" actId="255"/>
          <ac:spMkLst>
            <pc:docMk/>
            <pc:sldMk cId="890227972" sldId="2147309685"/>
            <ac:spMk id="41" creationId="{9C9ABCE6-2200-4785-B450-E6C4B4D83221}"/>
          </ac:spMkLst>
        </pc:spChg>
        <pc:spChg chg="mod">
          <ac:chgData name="Cairo, Melissa" userId="9c3284db-e4c9-46f5-8a86-4334db81e17b" providerId="ADAL" clId="{047DDFB1-BBEE-4D32-BF07-0545DA2222AD}" dt="2023-08-22T04:16:33.360" v="1032" actId="255"/>
          <ac:spMkLst>
            <pc:docMk/>
            <pc:sldMk cId="890227972" sldId="2147309685"/>
            <ac:spMk id="42" creationId="{5CDF3D63-F23E-4BFE-9B41-BBAA18B9D29F}"/>
          </ac:spMkLst>
        </pc:spChg>
        <pc:spChg chg="mod">
          <ac:chgData name="Cairo, Melissa" userId="9c3284db-e4c9-46f5-8a86-4334db81e17b" providerId="ADAL" clId="{047DDFB1-BBEE-4D32-BF07-0545DA2222AD}" dt="2023-08-22T04:16:33.360" v="1032" actId="255"/>
          <ac:spMkLst>
            <pc:docMk/>
            <pc:sldMk cId="890227972" sldId="2147309685"/>
            <ac:spMk id="44" creationId="{09E9025F-C7EF-49A4-9A26-837C2CED6FC1}"/>
          </ac:spMkLst>
        </pc:spChg>
        <pc:spChg chg="mod">
          <ac:chgData name="Cairo, Melissa" userId="9c3284db-e4c9-46f5-8a86-4334db81e17b" providerId="ADAL" clId="{047DDFB1-BBEE-4D32-BF07-0545DA2222AD}" dt="2023-08-22T04:15:35.518" v="1027" actId="207"/>
          <ac:spMkLst>
            <pc:docMk/>
            <pc:sldMk cId="890227972" sldId="2147309685"/>
            <ac:spMk id="46" creationId="{4971BCD8-BBBA-4327-90FC-747711247A66}"/>
          </ac:spMkLst>
        </pc:spChg>
        <pc:spChg chg="mod">
          <ac:chgData name="Cairo, Melissa" userId="9c3284db-e4c9-46f5-8a86-4334db81e17b" providerId="ADAL" clId="{047DDFB1-BBEE-4D32-BF07-0545DA2222AD}" dt="2023-08-22T04:15:35.518" v="1027" actId="207"/>
          <ac:spMkLst>
            <pc:docMk/>
            <pc:sldMk cId="890227972" sldId="2147309685"/>
            <ac:spMk id="47" creationId="{B5566D16-F841-4E94-92A9-2663E49440C3}"/>
          </ac:spMkLst>
        </pc:spChg>
        <pc:spChg chg="mod">
          <ac:chgData name="Cairo, Melissa" userId="9c3284db-e4c9-46f5-8a86-4334db81e17b" providerId="ADAL" clId="{047DDFB1-BBEE-4D32-BF07-0545DA2222AD}" dt="2023-08-22T04:15:35.518" v="1027" actId="207"/>
          <ac:spMkLst>
            <pc:docMk/>
            <pc:sldMk cId="890227972" sldId="2147309685"/>
            <ac:spMk id="48" creationId="{78762200-03B1-44A4-B198-A96A8566E294}"/>
          </ac:spMkLst>
        </pc:spChg>
        <pc:spChg chg="mod">
          <ac:chgData name="Cairo, Melissa" userId="9c3284db-e4c9-46f5-8a86-4334db81e17b" providerId="ADAL" clId="{047DDFB1-BBEE-4D32-BF07-0545DA2222AD}" dt="2023-08-22T04:15:52.124" v="1029" actId="208"/>
          <ac:spMkLst>
            <pc:docMk/>
            <pc:sldMk cId="890227972" sldId="2147309685"/>
            <ac:spMk id="49" creationId="{4BAA7AF1-52A5-41C5-888E-63469CF85B7D}"/>
          </ac:spMkLst>
        </pc:spChg>
        <pc:spChg chg="mod">
          <ac:chgData name="Cairo, Melissa" userId="9c3284db-e4c9-46f5-8a86-4334db81e17b" providerId="ADAL" clId="{047DDFB1-BBEE-4D32-BF07-0545DA2222AD}" dt="2023-08-22T04:15:52.124" v="1029" actId="208"/>
          <ac:spMkLst>
            <pc:docMk/>
            <pc:sldMk cId="890227972" sldId="2147309685"/>
            <ac:spMk id="50" creationId="{47DAE280-F4B7-478B-A8F6-A7FC2F0848B7}"/>
          </ac:spMkLst>
        </pc:spChg>
        <pc:grpChg chg="mod">
          <ac:chgData name="Cairo, Melissa" userId="9c3284db-e4c9-46f5-8a86-4334db81e17b" providerId="ADAL" clId="{047DDFB1-BBEE-4D32-BF07-0545DA2222AD}" dt="2023-08-22T04:14:21.972" v="1024" actId="1038"/>
          <ac:grpSpMkLst>
            <pc:docMk/>
            <pc:sldMk cId="890227972" sldId="2147309685"/>
            <ac:grpSpMk id="37" creationId="{ADAC7F82-1D82-472E-AD81-61F9CF39B1BE}"/>
          </ac:grpSpMkLst>
        </pc:grpChg>
      </pc:sldChg>
      <pc:sldChg chg="addCm">
        <pc:chgData name="Cairo, Melissa" userId="9c3284db-e4c9-46f5-8a86-4334db81e17b" providerId="ADAL" clId="{047DDFB1-BBEE-4D32-BF07-0545DA2222AD}" dt="2023-08-21T20:46:07.442" v="46"/>
        <pc:sldMkLst>
          <pc:docMk/>
          <pc:sldMk cId="2360244395" sldId="2147309686"/>
        </pc:sldMkLst>
      </pc:sldChg>
      <pc:sldChg chg="addCm">
        <pc:chgData name="Cairo, Melissa" userId="9c3284db-e4c9-46f5-8a86-4334db81e17b" providerId="ADAL" clId="{047DDFB1-BBEE-4D32-BF07-0545DA2222AD}" dt="2023-08-22T03:46:05.352" v="79"/>
        <pc:sldMkLst>
          <pc:docMk/>
          <pc:sldMk cId="938788667" sldId="2147309703"/>
        </pc:sldMkLst>
      </pc:sldChg>
      <pc:sldChg chg="addSp delSp modSp mod">
        <pc:chgData name="Cairo, Melissa" userId="9c3284db-e4c9-46f5-8a86-4334db81e17b" providerId="ADAL" clId="{047DDFB1-BBEE-4D32-BF07-0545DA2222AD}" dt="2023-08-22T03:46:20.918" v="81" actId="20577"/>
        <pc:sldMkLst>
          <pc:docMk/>
          <pc:sldMk cId="1192267893" sldId="2147309716"/>
        </pc:sldMkLst>
        <pc:spChg chg="del">
          <ac:chgData name="Cairo, Melissa" userId="9c3284db-e4c9-46f5-8a86-4334db81e17b" providerId="ADAL" clId="{047DDFB1-BBEE-4D32-BF07-0545DA2222AD}" dt="2023-08-21T20:43:20.368" v="38" actId="478"/>
          <ac:spMkLst>
            <pc:docMk/>
            <pc:sldMk cId="1192267893" sldId="2147309716"/>
            <ac:spMk id="8" creationId="{8DD0552C-8B0B-495E-AC47-65F098373BA2}"/>
          </ac:spMkLst>
        </pc:spChg>
        <pc:spChg chg="del">
          <ac:chgData name="Cairo, Melissa" userId="9c3284db-e4c9-46f5-8a86-4334db81e17b" providerId="ADAL" clId="{047DDFB1-BBEE-4D32-BF07-0545DA2222AD}" dt="2023-08-21T20:43:20.368" v="38" actId="478"/>
          <ac:spMkLst>
            <pc:docMk/>
            <pc:sldMk cId="1192267893" sldId="2147309716"/>
            <ac:spMk id="9" creationId="{2285B561-7816-469C-B954-FA4F070D0014}"/>
          </ac:spMkLst>
        </pc:spChg>
        <pc:spChg chg="mod">
          <ac:chgData name="Cairo, Melissa" userId="9c3284db-e4c9-46f5-8a86-4334db81e17b" providerId="ADAL" clId="{047DDFB1-BBEE-4D32-BF07-0545DA2222AD}" dt="2023-08-22T03:46:20.918" v="81" actId="20577"/>
          <ac:spMkLst>
            <pc:docMk/>
            <pc:sldMk cId="1192267893" sldId="2147309716"/>
            <ac:spMk id="53" creationId="{FA1C4791-9F0C-4204-AE40-854BE98BF79B}"/>
          </ac:spMkLst>
        </pc:spChg>
        <pc:grpChg chg="del">
          <ac:chgData name="Cairo, Melissa" userId="9c3284db-e4c9-46f5-8a86-4334db81e17b" providerId="ADAL" clId="{047DDFB1-BBEE-4D32-BF07-0545DA2222AD}" dt="2023-08-21T20:43:20.368" v="38" actId="478"/>
          <ac:grpSpMkLst>
            <pc:docMk/>
            <pc:sldMk cId="1192267893" sldId="2147309716"/>
            <ac:grpSpMk id="11" creationId="{82EDE19E-E97D-B17E-DE51-EE9090753003}"/>
          </ac:grpSpMkLst>
        </pc:grpChg>
        <pc:picChg chg="del">
          <ac:chgData name="Cairo, Melissa" userId="9c3284db-e4c9-46f5-8a86-4334db81e17b" providerId="ADAL" clId="{047DDFB1-BBEE-4D32-BF07-0545DA2222AD}" dt="2023-08-21T20:43:15.612" v="37" actId="478"/>
          <ac:picMkLst>
            <pc:docMk/>
            <pc:sldMk cId="1192267893" sldId="2147309716"/>
            <ac:picMk id="7" creationId="{FCE563AF-AEE7-4467-923F-EC7301536FD1}"/>
          </ac:picMkLst>
        </pc:picChg>
        <pc:picChg chg="del">
          <ac:chgData name="Cairo, Melissa" userId="9c3284db-e4c9-46f5-8a86-4334db81e17b" providerId="ADAL" clId="{047DDFB1-BBEE-4D32-BF07-0545DA2222AD}" dt="2023-08-21T20:43:20.368" v="38" actId="478"/>
          <ac:picMkLst>
            <pc:docMk/>
            <pc:sldMk cId="1192267893" sldId="2147309716"/>
            <ac:picMk id="10" creationId="{F52FEA6D-C0F5-4DC8-BE49-474065E7126D}"/>
          </ac:picMkLst>
        </pc:picChg>
        <pc:picChg chg="add mod">
          <ac:chgData name="Cairo, Melissa" userId="9c3284db-e4c9-46f5-8a86-4334db81e17b" providerId="ADAL" clId="{047DDFB1-BBEE-4D32-BF07-0545DA2222AD}" dt="2023-08-21T20:44:27.491" v="44" actId="1036"/>
          <ac:picMkLst>
            <pc:docMk/>
            <pc:sldMk cId="1192267893" sldId="2147309716"/>
            <ac:picMk id="12" creationId="{D17D9078-5130-6B61-669A-3D32C33AE14A}"/>
          </ac:picMkLst>
        </pc:picChg>
      </pc:sldChg>
      <pc:sldChg chg="mod modShow">
        <pc:chgData name="Cairo, Melissa" userId="9c3284db-e4c9-46f5-8a86-4334db81e17b" providerId="ADAL" clId="{047DDFB1-BBEE-4D32-BF07-0545DA2222AD}" dt="2023-08-22T04:14:07.414" v="988" actId="729"/>
        <pc:sldMkLst>
          <pc:docMk/>
          <pc:sldMk cId="3048672209" sldId="2147309729"/>
        </pc:sldMkLst>
      </pc:sldChg>
      <pc:sldChg chg="addCm">
        <pc:chgData name="Cairo, Melissa" userId="9c3284db-e4c9-46f5-8a86-4334db81e17b" providerId="ADAL" clId="{047DDFB1-BBEE-4D32-BF07-0545DA2222AD}" dt="2023-08-21T20:41:31.226" v="36"/>
        <pc:sldMkLst>
          <pc:docMk/>
          <pc:sldMk cId="103226455" sldId="2147472280"/>
        </pc:sldMkLst>
      </pc:sldChg>
      <pc:sldChg chg="modSp mod">
        <pc:chgData name="Cairo, Melissa" userId="9c3284db-e4c9-46f5-8a86-4334db81e17b" providerId="ADAL" clId="{047DDFB1-BBEE-4D32-BF07-0545DA2222AD}" dt="2023-08-21T20:48:12.721" v="78" actId="108"/>
        <pc:sldMkLst>
          <pc:docMk/>
          <pc:sldMk cId="1832112976" sldId="2147472283"/>
        </pc:sldMkLst>
        <pc:spChg chg="mod">
          <ac:chgData name="Cairo, Melissa" userId="9c3284db-e4c9-46f5-8a86-4334db81e17b" providerId="ADAL" clId="{047DDFB1-BBEE-4D32-BF07-0545DA2222AD}" dt="2023-08-21T20:48:12.721" v="78" actId="108"/>
          <ac:spMkLst>
            <pc:docMk/>
            <pc:sldMk cId="1832112976" sldId="2147472283"/>
            <ac:spMk id="15" creationId="{700DB4B1-CFFF-2F7D-64D6-F08EB1A7815B}"/>
          </ac:spMkLst>
        </pc:spChg>
      </pc:sldChg>
      <pc:sldChg chg="modSp mod addCm">
        <pc:chgData name="Cairo, Melissa" userId="9c3284db-e4c9-46f5-8a86-4334db81e17b" providerId="ADAL" clId="{047DDFB1-BBEE-4D32-BF07-0545DA2222AD}" dt="2023-08-21T20:46:50.842" v="49"/>
        <pc:sldMkLst>
          <pc:docMk/>
          <pc:sldMk cId="1044946537" sldId="2147472287"/>
        </pc:sldMkLst>
        <pc:spChg chg="mod">
          <ac:chgData name="Cairo, Melissa" userId="9c3284db-e4c9-46f5-8a86-4334db81e17b" providerId="ADAL" clId="{047DDFB1-BBEE-4D32-BF07-0545DA2222AD}" dt="2023-08-21T20:46:38.781" v="48" actId="14"/>
          <ac:spMkLst>
            <pc:docMk/>
            <pc:sldMk cId="1044946537" sldId="2147472287"/>
            <ac:spMk id="3" creationId="{E0EFA907-036A-8DA6-942A-08707E1C2E8E}"/>
          </ac:spMkLst>
        </pc:spChg>
      </pc:sldChg>
      <pc:sldChg chg="modSp mod ord modCm">
        <pc:chgData name="Cairo, Melissa" userId="9c3284db-e4c9-46f5-8a86-4334db81e17b" providerId="ADAL" clId="{047DDFB1-BBEE-4D32-BF07-0545DA2222AD}" dt="2023-08-22T03:48:20.714" v="101"/>
        <pc:sldMkLst>
          <pc:docMk/>
          <pc:sldMk cId="81513845" sldId="2147472307"/>
        </pc:sldMkLst>
        <pc:spChg chg="mod">
          <ac:chgData name="Cairo, Melissa" userId="9c3284db-e4c9-46f5-8a86-4334db81e17b" providerId="ADAL" clId="{047DDFB1-BBEE-4D32-BF07-0545DA2222AD}" dt="2023-08-22T03:47:43.151" v="100" actId="20577"/>
          <ac:spMkLst>
            <pc:docMk/>
            <pc:sldMk cId="81513845" sldId="2147472307"/>
            <ac:spMk id="4" creationId="{5384E798-BCAF-A2BB-C43D-0CA5F9E634E0}"/>
          </ac:spMkLst>
        </pc:spChg>
      </pc:sldChg>
      <pc:sldChg chg="modSp mod">
        <pc:chgData name="Cairo, Melissa" userId="9c3284db-e4c9-46f5-8a86-4334db81e17b" providerId="ADAL" clId="{047DDFB1-BBEE-4D32-BF07-0545DA2222AD}" dt="2023-08-22T03:59:30.137" v="260" actId="14100"/>
        <pc:sldMkLst>
          <pc:docMk/>
          <pc:sldMk cId="4086239096" sldId="2147472309"/>
        </pc:sldMkLst>
        <pc:spChg chg="mod">
          <ac:chgData name="Cairo, Melissa" userId="9c3284db-e4c9-46f5-8a86-4334db81e17b" providerId="ADAL" clId="{047DDFB1-BBEE-4D32-BF07-0545DA2222AD}" dt="2023-08-22T03:59:30.137" v="260" actId="14100"/>
          <ac:spMkLst>
            <pc:docMk/>
            <pc:sldMk cId="4086239096" sldId="2147472309"/>
            <ac:spMk id="25" creationId="{4A02B834-331E-5EF2-4CC5-6E0D90620543}"/>
          </ac:spMkLst>
        </pc:spChg>
      </pc:sldChg>
      <pc:sldChg chg="addSp delSp modSp del mod modCm">
        <pc:chgData name="Cairo, Melissa" userId="9c3284db-e4c9-46f5-8a86-4334db81e17b" providerId="ADAL" clId="{047DDFB1-BBEE-4D32-BF07-0545DA2222AD}" dt="2023-08-23T18:46:49.581" v="1064" actId="47"/>
        <pc:sldMkLst>
          <pc:docMk/>
          <pc:sldMk cId="113113539" sldId="2147472313"/>
        </pc:sldMkLst>
        <pc:spChg chg="add del">
          <ac:chgData name="Cairo, Melissa" userId="9c3284db-e4c9-46f5-8a86-4334db81e17b" providerId="ADAL" clId="{047DDFB1-BBEE-4D32-BF07-0545DA2222AD}" dt="2023-08-23T18:24:48.885" v="1046" actId="478"/>
          <ac:spMkLst>
            <pc:docMk/>
            <pc:sldMk cId="113113539" sldId="2147472313"/>
            <ac:spMk id="2" creationId="{FEB35BAE-7ABE-4A71-9AB3-7CCD18270BCD}"/>
          </ac:spMkLst>
        </pc:spChg>
        <pc:spChg chg="add del">
          <ac:chgData name="Cairo, Melissa" userId="9c3284db-e4c9-46f5-8a86-4334db81e17b" providerId="ADAL" clId="{047DDFB1-BBEE-4D32-BF07-0545DA2222AD}" dt="2023-08-23T18:24:50.402" v="1047" actId="478"/>
          <ac:spMkLst>
            <pc:docMk/>
            <pc:sldMk cId="113113539" sldId="2147472313"/>
            <ac:spMk id="3" creationId="{5499176A-FCE7-3906-CE04-E2AD0E9EB186}"/>
          </ac:spMkLst>
        </pc:spChg>
        <pc:spChg chg="add mod">
          <ac:chgData name="Cairo, Melissa" userId="9c3284db-e4c9-46f5-8a86-4334db81e17b" providerId="ADAL" clId="{047DDFB1-BBEE-4D32-BF07-0545DA2222AD}" dt="2023-08-23T18:26:51.757" v="1063" actId="1076"/>
          <ac:spMkLst>
            <pc:docMk/>
            <pc:sldMk cId="113113539" sldId="2147472313"/>
            <ac:spMk id="5" creationId="{C8F85860-25AA-40B8-B0E3-B7AAC96BB49F}"/>
          </ac:spMkLst>
        </pc:spChg>
        <pc:spChg chg="add mod">
          <ac:chgData name="Cairo, Melissa" userId="9c3284db-e4c9-46f5-8a86-4334db81e17b" providerId="ADAL" clId="{047DDFB1-BBEE-4D32-BF07-0545DA2222AD}" dt="2023-08-23T18:25:36.597" v="1062" actId="2711"/>
          <ac:spMkLst>
            <pc:docMk/>
            <pc:sldMk cId="113113539" sldId="2147472313"/>
            <ac:spMk id="7" creationId="{88105E7F-D4FE-63EE-0093-739B7A5C7023}"/>
          </ac:spMkLst>
        </pc:spChg>
        <pc:spChg chg="mod">
          <ac:chgData name="Cairo, Melissa" userId="9c3284db-e4c9-46f5-8a86-4334db81e17b" providerId="ADAL" clId="{047DDFB1-BBEE-4D32-BF07-0545DA2222AD}" dt="2023-08-23T18:24:44.749" v="1044" actId="20577"/>
          <ac:spMkLst>
            <pc:docMk/>
            <pc:sldMk cId="113113539" sldId="2147472313"/>
            <ac:spMk id="24" creationId="{964923DB-2256-419B-A063-3239D1FC888E}"/>
          </ac:spMkLst>
        </pc:spChg>
        <pc:picChg chg="add del">
          <ac:chgData name="Cairo, Melissa" userId="9c3284db-e4c9-46f5-8a86-4334db81e17b" providerId="ADAL" clId="{047DDFB1-BBEE-4D32-BF07-0545DA2222AD}" dt="2023-08-23T18:24:50.402" v="1047" actId="478"/>
          <ac:picMkLst>
            <pc:docMk/>
            <pc:sldMk cId="113113539" sldId="2147472313"/>
            <ac:picMk id="26" creationId="{A2E44B7A-42C4-73C2-7C53-BABF50439C4F}"/>
          </ac:picMkLst>
        </pc:picChg>
      </pc:sldChg>
      <pc:sldChg chg="modCm">
        <pc:chgData name="Cairo, Melissa" userId="9c3284db-e4c9-46f5-8a86-4334db81e17b" providerId="ADAL" clId="{047DDFB1-BBEE-4D32-BF07-0545DA2222AD}" dt="2023-08-21T20:33:35.898" v="0"/>
        <pc:sldMkLst>
          <pc:docMk/>
          <pc:sldMk cId="402946131" sldId="2147472314"/>
        </pc:sldMkLst>
      </pc:sldChg>
      <pc:sldChg chg="addSp modSp mod addCm modCm">
        <pc:chgData name="Cairo, Melissa" userId="9c3284db-e4c9-46f5-8a86-4334db81e17b" providerId="ADAL" clId="{047DDFB1-BBEE-4D32-BF07-0545DA2222AD}" dt="2023-08-22T04:11:32.984" v="704"/>
        <pc:sldMkLst>
          <pc:docMk/>
          <pc:sldMk cId="816121738" sldId="2147472315"/>
        </pc:sldMkLst>
        <pc:spChg chg="mod">
          <ac:chgData name="Cairo, Melissa" userId="9c3284db-e4c9-46f5-8a86-4334db81e17b" providerId="ADAL" clId="{047DDFB1-BBEE-4D32-BF07-0545DA2222AD}" dt="2023-08-22T03:52:45.774" v="231" actId="1038"/>
          <ac:spMkLst>
            <pc:docMk/>
            <pc:sldMk cId="816121738" sldId="2147472315"/>
            <ac:spMk id="4" creationId="{9CA0E7DF-8DD3-6E2B-6243-EF4F30CD3EC1}"/>
          </ac:spMkLst>
        </pc:spChg>
        <pc:spChg chg="mod">
          <ac:chgData name="Cairo, Melissa" userId="9c3284db-e4c9-46f5-8a86-4334db81e17b" providerId="ADAL" clId="{047DDFB1-BBEE-4D32-BF07-0545DA2222AD}" dt="2023-08-22T03:51:29.496" v="198" actId="1037"/>
          <ac:spMkLst>
            <pc:docMk/>
            <pc:sldMk cId="816121738" sldId="2147472315"/>
            <ac:spMk id="5" creationId="{55F7E75A-939F-F836-EE53-D62BA5E8FA2F}"/>
          </ac:spMkLst>
        </pc:spChg>
        <pc:spChg chg="mod">
          <ac:chgData name="Cairo, Melissa" userId="9c3284db-e4c9-46f5-8a86-4334db81e17b" providerId="ADAL" clId="{047DDFB1-BBEE-4D32-BF07-0545DA2222AD}" dt="2023-08-22T04:01:17.666" v="269" actId="207"/>
          <ac:spMkLst>
            <pc:docMk/>
            <pc:sldMk cId="816121738" sldId="2147472315"/>
            <ac:spMk id="6" creationId="{5645D8C6-637E-32D5-B30F-91697AD34922}"/>
          </ac:spMkLst>
        </pc:spChg>
        <pc:spChg chg="mod">
          <ac:chgData name="Cairo, Melissa" userId="9c3284db-e4c9-46f5-8a86-4334db81e17b" providerId="ADAL" clId="{047DDFB1-BBEE-4D32-BF07-0545DA2222AD}" dt="2023-08-22T04:11:01.954" v="703" actId="1036"/>
          <ac:spMkLst>
            <pc:docMk/>
            <pc:sldMk cId="816121738" sldId="2147472315"/>
            <ac:spMk id="7" creationId="{7530EA3E-6DD5-461D-C3EE-294365C4E205}"/>
          </ac:spMkLst>
        </pc:spChg>
        <pc:spChg chg="mod">
          <ac:chgData name="Cairo, Melissa" userId="9c3284db-e4c9-46f5-8a86-4334db81e17b" providerId="ADAL" clId="{047DDFB1-BBEE-4D32-BF07-0545DA2222AD}" dt="2023-08-22T04:03:38.583" v="325" actId="1038"/>
          <ac:spMkLst>
            <pc:docMk/>
            <pc:sldMk cId="816121738" sldId="2147472315"/>
            <ac:spMk id="8" creationId="{F3F8B558-D5F4-98AA-C3D8-347AD751685A}"/>
          </ac:spMkLst>
        </pc:spChg>
        <pc:spChg chg="mod">
          <ac:chgData name="Cairo, Melissa" userId="9c3284db-e4c9-46f5-8a86-4334db81e17b" providerId="ADAL" clId="{047DDFB1-BBEE-4D32-BF07-0545DA2222AD}" dt="2023-08-22T04:11:01.954" v="703" actId="1036"/>
          <ac:spMkLst>
            <pc:docMk/>
            <pc:sldMk cId="816121738" sldId="2147472315"/>
            <ac:spMk id="10" creationId="{99973E27-D23C-8EAB-0233-078EAE2F31C4}"/>
          </ac:spMkLst>
        </pc:spChg>
        <pc:spChg chg="mod">
          <ac:chgData name="Cairo, Melissa" userId="9c3284db-e4c9-46f5-8a86-4334db81e17b" providerId="ADAL" clId="{047DDFB1-BBEE-4D32-BF07-0545DA2222AD}" dt="2023-08-22T04:11:01.954" v="703" actId="1036"/>
          <ac:spMkLst>
            <pc:docMk/>
            <pc:sldMk cId="816121738" sldId="2147472315"/>
            <ac:spMk id="11" creationId="{63756C7A-6F4E-DA1D-CB2C-AF4B0C293591}"/>
          </ac:spMkLst>
        </pc:spChg>
        <pc:spChg chg="mod">
          <ac:chgData name="Cairo, Melissa" userId="9c3284db-e4c9-46f5-8a86-4334db81e17b" providerId="ADAL" clId="{047DDFB1-BBEE-4D32-BF07-0545DA2222AD}" dt="2023-08-22T04:09:46.967" v="693" actId="403"/>
          <ac:spMkLst>
            <pc:docMk/>
            <pc:sldMk cId="816121738" sldId="2147472315"/>
            <ac:spMk id="12" creationId="{7469E343-B5CC-62E4-2EBE-5A33718B97D9}"/>
          </ac:spMkLst>
        </pc:spChg>
        <pc:spChg chg="mod">
          <ac:chgData name="Cairo, Melissa" userId="9c3284db-e4c9-46f5-8a86-4334db81e17b" providerId="ADAL" clId="{047DDFB1-BBEE-4D32-BF07-0545DA2222AD}" dt="2023-08-22T04:09:57.013" v="694" actId="14100"/>
          <ac:spMkLst>
            <pc:docMk/>
            <pc:sldMk cId="816121738" sldId="2147472315"/>
            <ac:spMk id="13" creationId="{6EC7F595-4BD3-EBA2-0C3D-5C6E13650E37}"/>
          </ac:spMkLst>
        </pc:spChg>
        <pc:spChg chg="mod">
          <ac:chgData name="Cairo, Melissa" userId="9c3284db-e4c9-46f5-8a86-4334db81e17b" providerId="ADAL" clId="{047DDFB1-BBEE-4D32-BF07-0545DA2222AD}" dt="2023-08-22T04:02:03.389" v="274" actId="208"/>
          <ac:spMkLst>
            <pc:docMk/>
            <pc:sldMk cId="816121738" sldId="2147472315"/>
            <ac:spMk id="14" creationId="{AAE2D81C-BC39-7EB8-5B01-46548E6EE316}"/>
          </ac:spMkLst>
        </pc:spChg>
        <pc:spChg chg="mod">
          <ac:chgData name="Cairo, Melissa" userId="9c3284db-e4c9-46f5-8a86-4334db81e17b" providerId="ADAL" clId="{047DDFB1-BBEE-4D32-BF07-0545DA2222AD}" dt="2023-08-22T04:02:03.389" v="274" actId="208"/>
          <ac:spMkLst>
            <pc:docMk/>
            <pc:sldMk cId="816121738" sldId="2147472315"/>
            <ac:spMk id="15" creationId="{57B33666-C1A3-4504-F140-3250966753B6}"/>
          </ac:spMkLst>
        </pc:spChg>
        <pc:spChg chg="mod">
          <ac:chgData name="Cairo, Melissa" userId="9c3284db-e4c9-46f5-8a86-4334db81e17b" providerId="ADAL" clId="{047DDFB1-BBEE-4D32-BF07-0545DA2222AD}" dt="2023-08-22T04:01:30.940" v="273" actId="207"/>
          <ac:spMkLst>
            <pc:docMk/>
            <pc:sldMk cId="816121738" sldId="2147472315"/>
            <ac:spMk id="17" creationId="{E71A2393-C39D-4B04-8E8A-13C290A8CCA8}"/>
          </ac:spMkLst>
        </pc:spChg>
        <pc:spChg chg="mod">
          <ac:chgData name="Cairo, Melissa" userId="9c3284db-e4c9-46f5-8a86-4334db81e17b" providerId="ADAL" clId="{047DDFB1-BBEE-4D32-BF07-0545DA2222AD}" dt="2023-08-22T04:01:28.803" v="272" actId="207"/>
          <ac:spMkLst>
            <pc:docMk/>
            <pc:sldMk cId="816121738" sldId="2147472315"/>
            <ac:spMk id="18" creationId="{E357A79E-56B7-7629-A473-ABDB5A19A7AC}"/>
          </ac:spMkLst>
        </pc:spChg>
        <pc:spChg chg="mod">
          <ac:chgData name="Cairo, Melissa" userId="9c3284db-e4c9-46f5-8a86-4334db81e17b" providerId="ADAL" clId="{047DDFB1-BBEE-4D32-BF07-0545DA2222AD}" dt="2023-08-22T03:52:33.528" v="224" actId="207"/>
          <ac:spMkLst>
            <pc:docMk/>
            <pc:sldMk cId="816121738" sldId="2147472315"/>
            <ac:spMk id="20" creationId="{5C603443-223E-C3DB-E41C-36C63BA13D8A}"/>
          </ac:spMkLst>
        </pc:spChg>
        <pc:spChg chg="mod">
          <ac:chgData name="Cairo, Melissa" userId="9c3284db-e4c9-46f5-8a86-4334db81e17b" providerId="ADAL" clId="{047DDFB1-BBEE-4D32-BF07-0545DA2222AD}" dt="2023-08-22T03:52:33.528" v="224" actId="207"/>
          <ac:spMkLst>
            <pc:docMk/>
            <pc:sldMk cId="816121738" sldId="2147472315"/>
            <ac:spMk id="21" creationId="{C380C601-0B4F-BEC6-CDB4-04B3FED70E4F}"/>
          </ac:spMkLst>
        </pc:spChg>
        <pc:spChg chg="mod">
          <ac:chgData name="Cairo, Melissa" userId="9c3284db-e4c9-46f5-8a86-4334db81e17b" providerId="ADAL" clId="{047DDFB1-BBEE-4D32-BF07-0545DA2222AD}" dt="2023-08-22T03:52:33.528" v="224" actId="207"/>
          <ac:spMkLst>
            <pc:docMk/>
            <pc:sldMk cId="816121738" sldId="2147472315"/>
            <ac:spMk id="22" creationId="{7C4C5F25-5BDB-D45B-2E8A-EA2725795769}"/>
          </ac:spMkLst>
        </pc:spChg>
        <pc:spChg chg="mod">
          <ac:chgData name="Cairo, Melissa" userId="9c3284db-e4c9-46f5-8a86-4334db81e17b" providerId="ADAL" clId="{047DDFB1-BBEE-4D32-BF07-0545DA2222AD}" dt="2023-08-22T03:52:33.528" v="224" actId="207"/>
          <ac:spMkLst>
            <pc:docMk/>
            <pc:sldMk cId="816121738" sldId="2147472315"/>
            <ac:spMk id="23" creationId="{52440FA4-3394-F2CD-3DC8-2106442C9745}"/>
          </ac:spMkLst>
        </pc:spChg>
        <pc:spChg chg="add mod">
          <ac:chgData name="Cairo, Melissa" userId="9c3284db-e4c9-46f5-8a86-4334db81e17b" providerId="ADAL" clId="{047DDFB1-BBEE-4D32-BF07-0545DA2222AD}" dt="2023-08-22T04:02:03.389" v="274" actId="208"/>
          <ac:spMkLst>
            <pc:docMk/>
            <pc:sldMk cId="816121738" sldId="2147472315"/>
            <ac:spMk id="26" creationId="{30BB31F4-CB8A-CD46-8D78-FFDA1C262ED1}"/>
          </ac:spMkLst>
        </pc:spChg>
        <pc:spChg chg="mod">
          <ac:chgData name="Cairo, Melissa" userId="9c3284db-e4c9-46f5-8a86-4334db81e17b" providerId="ADAL" clId="{047DDFB1-BBEE-4D32-BF07-0545DA2222AD}" dt="2023-08-22T04:10:02.441" v="695" actId="14100"/>
          <ac:spMkLst>
            <pc:docMk/>
            <pc:sldMk cId="816121738" sldId="2147472315"/>
            <ac:spMk id="27" creationId="{551BC47C-F129-1C42-0E66-9BB8DE7E51FC}"/>
          </ac:spMkLst>
        </pc:spChg>
        <pc:grpChg chg="mod">
          <ac:chgData name="Cairo, Melissa" userId="9c3284db-e4c9-46f5-8a86-4334db81e17b" providerId="ADAL" clId="{047DDFB1-BBEE-4D32-BF07-0545DA2222AD}" dt="2023-08-22T04:00:36.578" v="265" actId="1038"/>
          <ac:grpSpMkLst>
            <pc:docMk/>
            <pc:sldMk cId="816121738" sldId="2147472315"/>
            <ac:grpSpMk id="16" creationId="{D409ACC4-E5AC-EBCE-A213-340F55EADB38}"/>
          </ac:grpSpMkLst>
        </pc:grpChg>
        <pc:grpChg chg="mod">
          <ac:chgData name="Cairo, Melissa" userId="9c3284db-e4c9-46f5-8a86-4334db81e17b" providerId="ADAL" clId="{047DDFB1-BBEE-4D32-BF07-0545DA2222AD}" dt="2023-08-22T03:52:52.156" v="234" actId="1037"/>
          <ac:grpSpMkLst>
            <pc:docMk/>
            <pc:sldMk cId="816121738" sldId="2147472315"/>
            <ac:grpSpMk id="19" creationId="{2CAA2285-4F41-82B5-B10E-16ECCAED5B2E}"/>
          </ac:grpSpMkLst>
        </pc:grpChg>
        <pc:picChg chg="mod">
          <ac:chgData name="Cairo, Melissa" userId="9c3284db-e4c9-46f5-8a86-4334db81e17b" providerId="ADAL" clId="{047DDFB1-BBEE-4D32-BF07-0545DA2222AD}" dt="2023-08-22T04:01:23.031" v="271" actId="207"/>
          <ac:picMkLst>
            <pc:docMk/>
            <pc:sldMk cId="816121738" sldId="2147472315"/>
            <ac:picMk id="9" creationId="{920D8CC3-2A08-B20A-C0D8-2E5B2EF83CF1}"/>
          </ac:picMkLst>
        </pc:picChg>
        <pc:cxnChg chg="mod">
          <ac:chgData name="Cairo, Melissa" userId="9c3284db-e4c9-46f5-8a86-4334db81e17b" providerId="ADAL" clId="{047DDFB1-BBEE-4D32-BF07-0545DA2222AD}" dt="2023-08-22T04:02:03.389" v="274" actId="208"/>
          <ac:cxnSpMkLst>
            <pc:docMk/>
            <pc:sldMk cId="816121738" sldId="2147472315"/>
            <ac:cxnSpMk id="3" creationId="{8AD40C87-0B2C-911D-B651-68316FD117F7}"/>
          </ac:cxnSpMkLst>
        </pc:cxnChg>
      </pc:sldChg>
      <pc:sldChg chg="modSp mod">
        <pc:chgData name="Cairo, Melissa" userId="9c3284db-e4c9-46f5-8a86-4334db81e17b" providerId="ADAL" clId="{047DDFB1-BBEE-4D32-BF07-0545DA2222AD}" dt="2023-08-22T03:50:01.401" v="117" actId="20577"/>
        <pc:sldMkLst>
          <pc:docMk/>
          <pc:sldMk cId="414280482" sldId="2147472316"/>
        </pc:sldMkLst>
        <pc:spChg chg="mod">
          <ac:chgData name="Cairo, Melissa" userId="9c3284db-e4c9-46f5-8a86-4334db81e17b" providerId="ADAL" clId="{047DDFB1-BBEE-4D32-BF07-0545DA2222AD}" dt="2023-08-22T03:50:01.401" v="117" actId="20577"/>
          <ac:spMkLst>
            <pc:docMk/>
            <pc:sldMk cId="414280482" sldId="2147472316"/>
            <ac:spMk id="25" creationId="{4A02B834-331E-5EF2-4CC5-6E0D90620543}"/>
          </ac:spMkLst>
        </pc:spChg>
      </pc:sldChg>
      <pc:sldChg chg="modSp mod addCm">
        <pc:chgData name="Cairo, Melissa" userId="9c3284db-e4c9-46f5-8a86-4334db81e17b" providerId="ADAL" clId="{047DDFB1-BBEE-4D32-BF07-0545DA2222AD}" dt="2023-08-22T03:58:40.672" v="258" actId="20577"/>
        <pc:sldMkLst>
          <pc:docMk/>
          <pc:sldMk cId="3435423304" sldId="2147472318"/>
        </pc:sldMkLst>
        <pc:spChg chg="mod">
          <ac:chgData name="Cairo, Melissa" userId="9c3284db-e4c9-46f5-8a86-4334db81e17b" providerId="ADAL" clId="{047DDFB1-BBEE-4D32-BF07-0545DA2222AD}" dt="2023-08-22T03:58:20.749" v="245" actId="20577"/>
          <ac:spMkLst>
            <pc:docMk/>
            <pc:sldMk cId="3435423304" sldId="2147472318"/>
            <ac:spMk id="24" creationId="{964923DB-2256-419B-A063-3239D1FC888E}"/>
          </ac:spMkLst>
        </pc:spChg>
        <pc:spChg chg="mod">
          <ac:chgData name="Cairo, Melissa" userId="9c3284db-e4c9-46f5-8a86-4334db81e17b" providerId="ADAL" clId="{047DDFB1-BBEE-4D32-BF07-0545DA2222AD}" dt="2023-08-22T03:58:40.672" v="258" actId="20577"/>
          <ac:spMkLst>
            <pc:docMk/>
            <pc:sldMk cId="3435423304" sldId="2147472318"/>
            <ac:spMk id="25" creationId="{4A02B834-331E-5EF2-4CC5-6E0D90620543}"/>
          </ac:spMkLst>
        </pc:spChg>
      </pc:sldChg>
      <pc:sldChg chg="modSp mod addCm modCm">
        <pc:chgData name="Cairo, Melissa" userId="9c3284db-e4c9-46f5-8a86-4334db81e17b" providerId="ADAL" clId="{047DDFB1-BBEE-4D32-BF07-0545DA2222AD}" dt="2023-08-22T04:13:48.125" v="987"/>
        <pc:sldMkLst>
          <pc:docMk/>
          <pc:sldMk cId="3359826993" sldId="2147472319"/>
        </pc:sldMkLst>
        <pc:spChg chg="mod">
          <ac:chgData name="Cairo, Melissa" userId="9c3284db-e4c9-46f5-8a86-4334db81e17b" providerId="ADAL" clId="{047DDFB1-BBEE-4D32-BF07-0545DA2222AD}" dt="2023-08-22T04:13:22.529" v="986" actId="20577"/>
          <ac:spMkLst>
            <pc:docMk/>
            <pc:sldMk cId="3359826993" sldId="2147472319"/>
            <ac:spMk id="26" creationId="{DEE75100-C714-08C0-44AB-D4EB27D6C5B6}"/>
          </ac:spMkLst>
        </pc:spChg>
      </pc:sldChg>
      <pc:sldChg chg="addSp modSp mod addCm">
        <pc:chgData name="Cairo, Melissa" userId="9c3284db-e4c9-46f5-8a86-4334db81e17b" providerId="ADAL" clId="{047DDFB1-BBEE-4D32-BF07-0545DA2222AD}" dt="2023-08-21T20:37:20.579" v="35"/>
        <pc:sldMkLst>
          <pc:docMk/>
          <pc:sldMk cId="737233286" sldId="2147472320"/>
        </pc:sldMkLst>
        <pc:spChg chg="add mod ord">
          <ac:chgData name="Cairo, Melissa" userId="9c3284db-e4c9-46f5-8a86-4334db81e17b" providerId="ADAL" clId="{047DDFB1-BBEE-4D32-BF07-0545DA2222AD}" dt="2023-08-21T20:36:46.265" v="34" actId="207"/>
          <ac:spMkLst>
            <pc:docMk/>
            <pc:sldMk cId="737233286" sldId="2147472320"/>
            <ac:spMk id="2" creationId="{D3A1F908-6237-EA90-657C-D5DAE607BC16}"/>
          </ac:spMkLst>
        </pc:spChg>
        <pc:spChg chg="mod">
          <ac:chgData name="Cairo, Melissa" userId="9c3284db-e4c9-46f5-8a86-4334db81e17b" providerId="ADAL" clId="{047DDFB1-BBEE-4D32-BF07-0545DA2222AD}" dt="2023-08-21T20:36:14.721" v="13" actId="14100"/>
          <ac:spMkLst>
            <pc:docMk/>
            <pc:sldMk cId="737233286" sldId="2147472320"/>
            <ac:spMk id="6" creationId="{5332C7B3-0DFD-290B-BF86-0152E1192579}"/>
          </ac:spMkLst>
        </pc:spChg>
        <pc:picChg chg="mod ord modCrop">
          <ac:chgData name="Cairo, Melissa" userId="9c3284db-e4c9-46f5-8a86-4334db81e17b" providerId="ADAL" clId="{047DDFB1-BBEE-4D32-BF07-0545DA2222AD}" dt="2023-08-21T20:35:52.884" v="10" actId="167"/>
          <ac:picMkLst>
            <pc:docMk/>
            <pc:sldMk cId="737233286" sldId="2147472320"/>
            <ac:picMk id="7" creationId="{D3480603-5639-F7E2-8FBD-471D522AE946}"/>
          </ac:picMkLst>
        </pc:picChg>
      </pc:sldChg>
      <pc:sldChg chg="add">
        <pc:chgData name="Cairo, Melissa" userId="9c3284db-e4c9-46f5-8a86-4334db81e17b" providerId="ADAL" clId="{047DDFB1-BBEE-4D32-BF07-0545DA2222AD}" dt="2023-08-23T18:24:40.111" v="1033" actId="2890"/>
        <pc:sldMkLst>
          <pc:docMk/>
          <pc:sldMk cId="1154993897" sldId="2147472328"/>
        </pc:sldMkLst>
      </pc:sldChg>
      <pc:sldChg chg="modSp mod">
        <pc:chgData name="Cairo, Melissa" userId="9c3284db-e4c9-46f5-8a86-4334db81e17b" providerId="ADAL" clId="{047DDFB1-BBEE-4D32-BF07-0545DA2222AD}" dt="2023-08-23T18:46:56.075" v="1065" actId="20577"/>
        <pc:sldMkLst>
          <pc:docMk/>
          <pc:sldMk cId="3654732494" sldId="2147472329"/>
        </pc:sldMkLst>
        <pc:spChg chg="mod">
          <ac:chgData name="Cairo, Melissa" userId="9c3284db-e4c9-46f5-8a86-4334db81e17b" providerId="ADAL" clId="{047DDFB1-BBEE-4D32-BF07-0545DA2222AD}" dt="2023-08-23T18:46:56.075" v="1065" actId="20577"/>
          <ac:spMkLst>
            <pc:docMk/>
            <pc:sldMk cId="3654732494" sldId="2147472329"/>
            <ac:spMk id="3" creationId="{2325894D-2B7A-7B64-C44D-7F4A529E271D}"/>
          </ac:spMkLst>
        </pc:spChg>
      </pc:sldChg>
    </pc:docChg>
  </pc:docChgLst>
  <pc:docChgLst>
    <pc:chgData name="Hillard, Laura" userId="fb6b425a-e8d9-473f-bcd9-e45358f5bb1d" providerId="ADAL" clId="{807B7B52-8E38-40A8-91A0-5B067DFCDF7D}"/>
    <pc:docChg chg="undo redo custSel addSld delSld modSld sldOrd delSection modSection">
      <pc:chgData name="Hillard, Laura" userId="fb6b425a-e8d9-473f-bcd9-e45358f5bb1d" providerId="ADAL" clId="{807B7B52-8E38-40A8-91A0-5B067DFCDF7D}" dt="2024-01-03T21:17:40.224" v="1571" actId="20577"/>
      <pc:docMkLst>
        <pc:docMk/>
      </pc:docMkLst>
      <pc:sldChg chg="modSp mod">
        <pc:chgData name="Hillard, Laura" userId="fb6b425a-e8d9-473f-bcd9-e45358f5bb1d" providerId="ADAL" clId="{807B7B52-8E38-40A8-91A0-5B067DFCDF7D}" dt="2024-01-03T17:36:39.047" v="0" actId="20577"/>
        <pc:sldMkLst>
          <pc:docMk/>
          <pc:sldMk cId="890227972" sldId="2147309685"/>
        </pc:sldMkLst>
        <pc:spChg chg="mod">
          <ac:chgData name="Hillard, Laura" userId="fb6b425a-e8d9-473f-bcd9-e45358f5bb1d" providerId="ADAL" clId="{807B7B52-8E38-40A8-91A0-5B067DFCDF7D}" dt="2024-01-03T17:36:39.047" v="0" actId="20577"/>
          <ac:spMkLst>
            <pc:docMk/>
            <pc:sldMk cId="890227972" sldId="2147309685"/>
            <ac:spMk id="4" creationId="{FDD404E2-CC8D-4600-A159-7D553546ACF7}"/>
          </ac:spMkLst>
        </pc:spChg>
      </pc:sldChg>
      <pc:sldChg chg="del">
        <pc:chgData name="Hillard, Laura" userId="fb6b425a-e8d9-473f-bcd9-e45358f5bb1d" providerId="ADAL" clId="{807B7B52-8E38-40A8-91A0-5B067DFCDF7D}" dt="2024-01-03T18:59:23.143" v="1406" actId="47"/>
        <pc:sldMkLst>
          <pc:docMk/>
          <pc:sldMk cId="677951991" sldId="2147309697"/>
        </pc:sldMkLst>
      </pc:sldChg>
      <pc:sldChg chg="modSp mod">
        <pc:chgData name="Hillard, Laura" userId="fb6b425a-e8d9-473f-bcd9-e45358f5bb1d" providerId="ADAL" clId="{807B7B52-8E38-40A8-91A0-5B067DFCDF7D}" dt="2024-01-03T18:59:07.846" v="1405" actId="20577"/>
        <pc:sldMkLst>
          <pc:docMk/>
          <pc:sldMk cId="71924198" sldId="2147472310"/>
        </pc:sldMkLst>
        <pc:spChg chg="mod">
          <ac:chgData name="Hillard, Laura" userId="fb6b425a-e8d9-473f-bcd9-e45358f5bb1d" providerId="ADAL" clId="{807B7B52-8E38-40A8-91A0-5B067DFCDF7D}" dt="2024-01-03T18:59:07.846" v="1405" actId="20577"/>
          <ac:spMkLst>
            <pc:docMk/>
            <pc:sldMk cId="71924198" sldId="2147472310"/>
            <ac:spMk id="3" creationId="{DBE128BB-F9C9-4D1E-8EF7-3A99EBCC7F36}"/>
          </ac:spMkLst>
        </pc:spChg>
      </pc:sldChg>
      <pc:sldChg chg="addCm delCm">
        <pc:chgData name="Hillard, Laura" userId="fb6b425a-e8d9-473f-bcd9-e45358f5bb1d" providerId="ADAL" clId="{807B7B52-8E38-40A8-91A0-5B067DFCDF7D}" dt="2024-01-03T19:43:32.692" v="1407"/>
        <pc:sldMkLst>
          <pc:docMk/>
          <pc:sldMk cId="1747163129" sldId="2147472321"/>
        </pc:sldMkLst>
      </pc:sldChg>
      <pc:sldChg chg="addSp modSp mod addCm delCm modCm">
        <pc:chgData name="Hillard, Laura" userId="fb6b425a-e8d9-473f-bcd9-e45358f5bb1d" providerId="ADAL" clId="{807B7B52-8E38-40A8-91A0-5B067DFCDF7D}" dt="2024-01-03T19:44:23.067" v="1445" actId="20577"/>
        <pc:sldMkLst>
          <pc:docMk/>
          <pc:sldMk cId="3718155455" sldId="2147472328"/>
        </pc:sldMkLst>
        <pc:spChg chg="mod">
          <ac:chgData name="Hillard, Laura" userId="fb6b425a-e8d9-473f-bcd9-e45358f5bb1d" providerId="ADAL" clId="{807B7B52-8E38-40A8-91A0-5B067DFCDF7D}" dt="2024-01-03T19:44:23.067" v="1445" actId="20577"/>
          <ac:spMkLst>
            <pc:docMk/>
            <pc:sldMk cId="3718155455" sldId="2147472328"/>
            <ac:spMk id="3" creationId="{1ABEB552-FC05-4726-8630-22111FC75C23}"/>
          </ac:spMkLst>
        </pc:spChg>
        <pc:spChg chg="mod">
          <ac:chgData name="Hillard, Laura" userId="fb6b425a-e8d9-473f-bcd9-e45358f5bb1d" providerId="ADAL" clId="{807B7B52-8E38-40A8-91A0-5B067DFCDF7D}" dt="2024-01-03T18:36:25.236" v="1168" actId="12789"/>
          <ac:spMkLst>
            <pc:docMk/>
            <pc:sldMk cId="3718155455" sldId="2147472328"/>
            <ac:spMk id="9" creationId="{BA545B7E-1590-4885-B1C3-37AA80CC7BD8}"/>
          </ac:spMkLst>
        </pc:spChg>
        <pc:spChg chg="mod">
          <ac:chgData name="Hillard, Laura" userId="fb6b425a-e8d9-473f-bcd9-e45358f5bb1d" providerId="ADAL" clId="{807B7B52-8E38-40A8-91A0-5B067DFCDF7D}" dt="2024-01-03T18:37:00.708" v="1207" actId="20577"/>
          <ac:spMkLst>
            <pc:docMk/>
            <pc:sldMk cId="3718155455" sldId="2147472328"/>
            <ac:spMk id="10" creationId="{94717824-BD8F-4487-AC45-36C62754E7C0}"/>
          </ac:spMkLst>
        </pc:spChg>
        <pc:spChg chg="mod">
          <ac:chgData name="Hillard, Laura" userId="fb6b425a-e8d9-473f-bcd9-e45358f5bb1d" providerId="ADAL" clId="{807B7B52-8E38-40A8-91A0-5B067DFCDF7D}" dt="2024-01-03T18:36:18.618" v="1167" actId="20577"/>
          <ac:spMkLst>
            <pc:docMk/>
            <pc:sldMk cId="3718155455" sldId="2147472328"/>
            <ac:spMk id="13" creationId="{3E32B77B-7C23-E7B0-0C0C-2BCEE7B88E7A}"/>
          </ac:spMkLst>
        </pc:spChg>
        <pc:spChg chg="mod">
          <ac:chgData name="Hillard, Laura" userId="fb6b425a-e8d9-473f-bcd9-e45358f5bb1d" providerId="ADAL" clId="{807B7B52-8E38-40A8-91A0-5B067DFCDF7D}" dt="2024-01-03T18:35:45.300" v="1140"/>
          <ac:spMkLst>
            <pc:docMk/>
            <pc:sldMk cId="3718155455" sldId="2147472328"/>
            <ac:spMk id="14" creationId="{A26777F1-3E08-1C93-051C-E843449AEB63}"/>
          </ac:spMkLst>
        </pc:spChg>
        <pc:spChg chg="mod">
          <ac:chgData name="Hillard, Laura" userId="fb6b425a-e8d9-473f-bcd9-e45358f5bb1d" providerId="ADAL" clId="{807B7B52-8E38-40A8-91A0-5B067DFCDF7D}" dt="2024-01-03T18:36:47.385" v="1170"/>
          <ac:spMkLst>
            <pc:docMk/>
            <pc:sldMk cId="3718155455" sldId="2147472328"/>
            <ac:spMk id="22" creationId="{8E87DE34-01F2-4ECD-91AE-EE49BB31015D}"/>
          </ac:spMkLst>
        </pc:spChg>
        <pc:spChg chg="mod">
          <ac:chgData name="Hillard, Laura" userId="fb6b425a-e8d9-473f-bcd9-e45358f5bb1d" providerId="ADAL" clId="{807B7B52-8E38-40A8-91A0-5B067DFCDF7D}" dt="2024-01-03T18:35:54.966" v="1165" actId="20577"/>
          <ac:spMkLst>
            <pc:docMk/>
            <pc:sldMk cId="3718155455" sldId="2147472328"/>
            <ac:spMk id="30" creationId="{77EDFF8D-1EF6-98A4-B71B-760476B2FD5F}"/>
          </ac:spMkLst>
        </pc:spChg>
        <pc:grpChg chg="mod">
          <ac:chgData name="Hillard, Laura" userId="fb6b425a-e8d9-473f-bcd9-e45358f5bb1d" providerId="ADAL" clId="{807B7B52-8E38-40A8-91A0-5B067DFCDF7D}" dt="2024-01-03T18:36:35.459" v="1169" actId="465"/>
          <ac:grpSpMkLst>
            <pc:docMk/>
            <pc:sldMk cId="3718155455" sldId="2147472328"/>
            <ac:grpSpMk id="8" creationId="{3748B3AE-EFFF-496B-ACE0-D4571BEB8BE9}"/>
          </ac:grpSpMkLst>
        </pc:grpChg>
        <pc:grpChg chg="add mod">
          <ac:chgData name="Hillard, Laura" userId="fb6b425a-e8d9-473f-bcd9-e45358f5bb1d" providerId="ADAL" clId="{807B7B52-8E38-40A8-91A0-5B067DFCDF7D}" dt="2024-01-03T18:35:48.750" v="1141" actId="1076"/>
          <ac:grpSpMkLst>
            <pc:docMk/>
            <pc:sldMk cId="3718155455" sldId="2147472328"/>
            <ac:grpSpMk id="12" creationId="{E95847E2-DC03-7E80-CEEA-A1E0EC438E87}"/>
          </ac:grpSpMkLst>
        </pc:grpChg>
        <pc:grpChg chg="mod">
          <ac:chgData name="Hillard, Laura" userId="fb6b425a-e8d9-473f-bcd9-e45358f5bb1d" providerId="ADAL" clId="{807B7B52-8E38-40A8-91A0-5B067DFCDF7D}" dt="2024-01-03T18:36:35.459" v="1169" actId="465"/>
          <ac:grpSpMkLst>
            <pc:docMk/>
            <pc:sldMk cId="3718155455" sldId="2147472328"/>
            <ac:grpSpMk id="18" creationId="{3136F1D7-3FB5-43F9-3767-82C4CB82490E}"/>
          </ac:grpSpMkLst>
        </pc:grpChg>
        <pc:grpChg chg="mod">
          <ac:chgData name="Hillard, Laura" userId="fb6b425a-e8d9-473f-bcd9-e45358f5bb1d" providerId="ADAL" clId="{807B7B52-8E38-40A8-91A0-5B067DFCDF7D}" dt="2024-01-03T18:36:35.459" v="1169" actId="465"/>
          <ac:grpSpMkLst>
            <pc:docMk/>
            <pc:sldMk cId="3718155455" sldId="2147472328"/>
            <ac:grpSpMk id="20" creationId="{97818ED5-671A-41B6-8FED-35CC51D78E82}"/>
          </ac:grpSpMkLst>
        </pc:grpChg>
        <pc:grpChg chg="mod">
          <ac:chgData name="Hillard, Laura" userId="fb6b425a-e8d9-473f-bcd9-e45358f5bb1d" providerId="ADAL" clId="{807B7B52-8E38-40A8-91A0-5B067DFCDF7D}" dt="2024-01-03T18:36:35.459" v="1169" actId="465"/>
          <ac:grpSpMkLst>
            <pc:docMk/>
            <pc:sldMk cId="3718155455" sldId="2147472328"/>
            <ac:grpSpMk id="28" creationId="{F9559EE3-7158-801F-F5A6-5B14FFB9285A}"/>
          </ac:grpSpMkLst>
        </pc:grpChg>
        <pc:cxnChg chg="mod">
          <ac:chgData name="Hillard, Laura" userId="fb6b425a-e8d9-473f-bcd9-e45358f5bb1d" providerId="ADAL" clId="{807B7B52-8E38-40A8-91A0-5B067DFCDF7D}" dt="2024-01-03T18:36:25.236" v="1168" actId="12789"/>
          <ac:cxnSpMkLst>
            <pc:docMk/>
            <pc:sldMk cId="3718155455" sldId="2147472328"/>
            <ac:cxnSpMk id="11" creationId="{550C257E-46B2-400B-917C-8A6D15CA3FDB}"/>
          </ac:cxnSpMkLst>
        </pc:cxnChg>
        <pc:cxnChg chg="mod">
          <ac:chgData name="Hillard, Laura" userId="fb6b425a-e8d9-473f-bcd9-e45358f5bb1d" providerId="ADAL" clId="{807B7B52-8E38-40A8-91A0-5B067DFCDF7D}" dt="2024-01-03T18:36:15.076" v="1166" actId="208"/>
          <ac:cxnSpMkLst>
            <pc:docMk/>
            <pc:sldMk cId="3718155455" sldId="2147472328"/>
            <ac:cxnSpMk id="15" creationId="{19FBD2FF-9A35-486A-5298-9ABFEF961B12}"/>
          </ac:cxnSpMkLst>
        </pc:cxnChg>
      </pc:sldChg>
      <pc:sldChg chg="delCm">
        <pc:chgData name="Hillard, Laura" userId="fb6b425a-e8d9-473f-bcd9-e45358f5bb1d" providerId="ADAL" clId="{807B7B52-8E38-40A8-91A0-5B067DFCDF7D}" dt="2024-01-03T18:58:51.892" v="1404"/>
        <pc:sldMkLst>
          <pc:docMk/>
          <pc:sldMk cId="3714781665" sldId="2147472384"/>
        </pc:sldMkLst>
      </pc:sldChg>
      <pc:sldChg chg="modSp mod">
        <pc:chgData name="Hillard, Laura" userId="fb6b425a-e8d9-473f-bcd9-e45358f5bb1d" providerId="ADAL" clId="{807B7B52-8E38-40A8-91A0-5B067DFCDF7D}" dt="2024-01-03T21:17:40.224" v="1571" actId="20577"/>
        <pc:sldMkLst>
          <pc:docMk/>
          <pc:sldMk cId="1758831762" sldId="2147472387"/>
        </pc:sldMkLst>
        <pc:spChg chg="mod">
          <ac:chgData name="Hillard, Laura" userId="fb6b425a-e8d9-473f-bcd9-e45358f5bb1d" providerId="ADAL" clId="{807B7B52-8E38-40A8-91A0-5B067DFCDF7D}" dt="2024-01-03T21:17:40.224" v="1571" actId="20577"/>
          <ac:spMkLst>
            <pc:docMk/>
            <pc:sldMk cId="1758831762" sldId="2147472387"/>
            <ac:spMk id="8" creationId="{CFFD6CDD-B17F-5326-5ED1-CB1A9404D6C0}"/>
          </ac:spMkLst>
        </pc:spChg>
      </pc:sldChg>
      <pc:sldChg chg="modSp mod delCm">
        <pc:chgData name="Hillard, Laura" userId="fb6b425a-e8d9-473f-bcd9-e45358f5bb1d" providerId="ADAL" clId="{807B7B52-8E38-40A8-91A0-5B067DFCDF7D}" dt="2024-01-03T18:56:01.089" v="1403" actId="14100"/>
        <pc:sldMkLst>
          <pc:docMk/>
          <pc:sldMk cId="1472917968" sldId="2147472389"/>
        </pc:sldMkLst>
        <pc:picChg chg="mod">
          <ac:chgData name="Hillard, Laura" userId="fb6b425a-e8d9-473f-bcd9-e45358f5bb1d" providerId="ADAL" clId="{807B7B52-8E38-40A8-91A0-5B067DFCDF7D}" dt="2024-01-03T18:56:01.089" v="1403" actId="14100"/>
          <ac:picMkLst>
            <pc:docMk/>
            <pc:sldMk cId="1472917968" sldId="2147472389"/>
            <ac:picMk id="8" creationId="{A1FEF25E-3783-3636-DE40-21CB280D1B72}"/>
          </ac:picMkLst>
        </pc:picChg>
      </pc:sldChg>
      <pc:sldChg chg="modSp mod">
        <pc:chgData name="Hillard, Laura" userId="fb6b425a-e8d9-473f-bcd9-e45358f5bb1d" providerId="ADAL" clId="{807B7B52-8E38-40A8-91A0-5B067DFCDF7D}" dt="2024-01-03T17:55:55.816" v="162" actId="2711"/>
        <pc:sldMkLst>
          <pc:docMk/>
          <pc:sldMk cId="1132225721" sldId="2147472393"/>
        </pc:sldMkLst>
        <pc:spChg chg="mod">
          <ac:chgData name="Hillard, Laura" userId="fb6b425a-e8d9-473f-bcd9-e45358f5bb1d" providerId="ADAL" clId="{807B7B52-8E38-40A8-91A0-5B067DFCDF7D}" dt="2024-01-03T17:55:55.816" v="162" actId="2711"/>
          <ac:spMkLst>
            <pc:docMk/>
            <pc:sldMk cId="1132225721" sldId="2147472393"/>
            <ac:spMk id="3" creationId="{802F4057-D21A-82FD-C579-A946465549FD}"/>
          </ac:spMkLst>
        </pc:spChg>
      </pc:sldChg>
      <pc:sldChg chg="modSp mod ord addCm">
        <pc:chgData name="Hillard, Laura" userId="fb6b425a-e8d9-473f-bcd9-e45358f5bb1d" providerId="ADAL" clId="{807B7B52-8E38-40A8-91A0-5B067DFCDF7D}" dt="2024-01-03T19:56:13.207" v="1462" actId="20577"/>
        <pc:sldMkLst>
          <pc:docMk/>
          <pc:sldMk cId="2955890956" sldId="2147472395"/>
        </pc:sldMkLst>
        <pc:spChg chg="mod">
          <ac:chgData name="Hillard, Laura" userId="fb6b425a-e8d9-473f-bcd9-e45358f5bb1d" providerId="ADAL" clId="{807B7B52-8E38-40A8-91A0-5B067DFCDF7D}" dt="2024-01-03T19:56:13.207" v="1462" actId="20577"/>
          <ac:spMkLst>
            <pc:docMk/>
            <pc:sldMk cId="2955890956" sldId="2147472395"/>
            <ac:spMk id="3" creationId="{DBE128BB-F9C9-4D1E-8EF7-3A99EBCC7F36}"/>
          </ac:spMkLst>
        </pc:spChg>
      </pc:sldChg>
      <pc:sldChg chg="add">
        <pc:chgData name="Hillard, Laura" userId="fb6b425a-e8d9-473f-bcd9-e45358f5bb1d" providerId="ADAL" clId="{807B7B52-8E38-40A8-91A0-5B067DFCDF7D}" dt="2024-01-03T17:39:10.775" v="1" actId="2890"/>
        <pc:sldMkLst>
          <pc:docMk/>
          <pc:sldMk cId="2776307867" sldId="2147472396"/>
        </pc:sldMkLst>
      </pc:sldChg>
      <pc:sldChg chg="addSp delSp modSp add mod">
        <pc:chgData name="Hillard, Laura" userId="fb6b425a-e8d9-473f-bcd9-e45358f5bb1d" providerId="ADAL" clId="{807B7B52-8E38-40A8-91A0-5B067DFCDF7D}" dt="2024-01-03T18:00:25.044" v="479" actId="20577"/>
        <pc:sldMkLst>
          <pc:docMk/>
          <pc:sldMk cId="709803223" sldId="2147472422"/>
        </pc:sldMkLst>
        <pc:spChg chg="add mod">
          <ac:chgData name="Hillard, Laura" userId="fb6b425a-e8d9-473f-bcd9-e45358f5bb1d" providerId="ADAL" clId="{807B7B52-8E38-40A8-91A0-5B067DFCDF7D}" dt="2024-01-03T17:57:18.740" v="210"/>
          <ac:spMkLst>
            <pc:docMk/>
            <pc:sldMk cId="709803223" sldId="2147472422"/>
            <ac:spMk id="2" creationId="{E52B5050-8874-29C7-033B-86B3178B5C3F}"/>
          </ac:spMkLst>
        </pc:spChg>
        <pc:spChg chg="del">
          <ac:chgData name="Hillard, Laura" userId="fb6b425a-e8d9-473f-bcd9-e45358f5bb1d" providerId="ADAL" clId="{807B7B52-8E38-40A8-91A0-5B067DFCDF7D}" dt="2024-01-03T17:56:26.719" v="163" actId="478"/>
          <ac:spMkLst>
            <pc:docMk/>
            <pc:sldMk cId="709803223" sldId="2147472422"/>
            <ac:spMk id="3" creationId="{9B881BD6-5F67-BDD1-7B1B-42993EB488AA}"/>
          </ac:spMkLst>
        </pc:spChg>
        <pc:spChg chg="add del mod">
          <ac:chgData name="Hillard, Laura" userId="fb6b425a-e8d9-473f-bcd9-e45358f5bb1d" providerId="ADAL" clId="{807B7B52-8E38-40A8-91A0-5B067DFCDF7D}" dt="2024-01-03T18:00:25.044" v="479" actId="20577"/>
          <ac:spMkLst>
            <pc:docMk/>
            <pc:sldMk cId="709803223" sldId="2147472422"/>
            <ac:spMk id="4" creationId="{6B00F546-E31C-00C3-1F11-4D350B9F8957}"/>
          </ac:spMkLst>
        </pc:spChg>
        <pc:spChg chg="mod">
          <ac:chgData name="Hillard, Laura" userId="fb6b425a-e8d9-473f-bcd9-e45358f5bb1d" providerId="ADAL" clId="{807B7B52-8E38-40A8-91A0-5B067DFCDF7D}" dt="2024-01-03T17:58:56.431" v="272" actId="2711"/>
          <ac:spMkLst>
            <pc:docMk/>
            <pc:sldMk cId="709803223" sldId="2147472422"/>
            <ac:spMk id="77" creationId="{A0941BD4-99FE-0569-A6CA-F20D1948568F}"/>
          </ac:spMkLst>
        </pc:spChg>
        <pc:spChg chg="mod">
          <ac:chgData name="Hillard, Laura" userId="fb6b425a-e8d9-473f-bcd9-e45358f5bb1d" providerId="ADAL" clId="{807B7B52-8E38-40A8-91A0-5B067DFCDF7D}" dt="2024-01-03T17:58:52.543" v="271" actId="2711"/>
          <ac:spMkLst>
            <pc:docMk/>
            <pc:sldMk cId="709803223" sldId="2147472422"/>
            <ac:spMk id="78" creationId="{649A75AB-CA35-1007-ACCF-C1C3882BE010}"/>
          </ac:spMkLst>
        </pc:spChg>
        <pc:spChg chg="mod">
          <ac:chgData name="Hillard, Laura" userId="fb6b425a-e8d9-473f-bcd9-e45358f5bb1d" providerId="ADAL" clId="{807B7B52-8E38-40A8-91A0-5B067DFCDF7D}" dt="2024-01-03T17:58:52.543" v="271" actId="2711"/>
          <ac:spMkLst>
            <pc:docMk/>
            <pc:sldMk cId="709803223" sldId="2147472422"/>
            <ac:spMk id="79" creationId="{43961CF6-9C96-F93F-C3BE-3B5D6BCB27BE}"/>
          </ac:spMkLst>
        </pc:spChg>
        <pc:spChg chg="mod">
          <ac:chgData name="Hillard, Laura" userId="fb6b425a-e8d9-473f-bcd9-e45358f5bb1d" providerId="ADAL" clId="{807B7B52-8E38-40A8-91A0-5B067DFCDF7D}" dt="2024-01-03T17:58:52.543" v="271" actId="2711"/>
          <ac:spMkLst>
            <pc:docMk/>
            <pc:sldMk cId="709803223" sldId="2147472422"/>
            <ac:spMk id="80" creationId="{85E200EB-A684-F053-567D-ADD3089D3ACC}"/>
          </ac:spMkLst>
        </pc:spChg>
        <pc:spChg chg="mod">
          <ac:chgData name="Hillard, Laura" userId="fb6b425a-e8d9-473f-bcd9-e45358f5bb1d" providerId="ADAL" clId="{807B7B52-8E38-40A8-91A0-5B067DFCDF7D}" dt="2024-01-03T17:58:52.543" v="271" actId="2711"/>
          <ac:spMkLst>
            <pc:docMk/>
            <pc:sldMk cId="709803223" sldId="2147472422"/>
            <ac:spMk id="81" creationId="{FA7428CC-4FE9-3D58-9BBD-058C7C4396E6}"/>
          </ac:spMkLst>
        </pc:spChg>
        <pc:spChg chg="mod">
          <ac:chgData name="Hillard, Laura" userId="fb6b425a-e8d9-473f-bcd9-e45358f5bb1d" providerId="ADAL" clId="{807B7B52-8E38-40A8-91A0-5B067DFCDF7D}" dt="2024-01-03T17:58:52.543" v="271" actId="2711"/>
          <ac:spMkLst>
            <pc:docMk/>
            <pc:sldMk cId="709803223" sldId="2147472422"/>
            <ac:spMk id="83" creationId="{52DE791E-1BB8-A7DA-323F-6A42A0EF3432}"/>
          </ac:spMkLst>
        </pc:spChg>
        <pc:spChg chg="mod">
          <ac:chgData name="Hillard, Laura" userId="fb6b425a-e8d9-473f-bcd9-e45358f5bb1d" providerId="ADAL" clId="{807B7B52-8E38-40A8-91A0-5B067DFCDF7D}" dt="2024-01-03T17:58:52.543" v="271" actId="2711"/>
          <ac:spMkLst>
            <pc:docMk/>
            <pc:sldMk cId="709803223" sldId="2147472422"/>
            <ac:spMk id="84" creationId="{E08303A7-1B8F-7F1A-0885-CA94547D9933}"/>
          </ac:spMkLst>
        </pc:spChg>
        <pc:spChg chg="mod">
          <ac:chgData name="Hillard, Laura" userId="fb6b425a-e8d9-473f-bcd9-e45358f5bb1d" providerId="ADAL" clId="{807B7B52-8E38-40A8-91A0-5B067DFCDF7D}" dt="2024-01-03T17:58:56.431" v="272" actId="2711"/>
          <ac:spMkLst>
            <pc:docMk/>
            <pc:sldMk cId="709803223" sldId="2147472422"/>
            <ac:spMk id="85" creationId="{0CA1C63F-13DE-AA04-8A0A-DD86EE8D9648}"/>
          </ac:spMkLst>
        </pc:spChg>
        <pc:spChg chg="mod">
          <ac:chgData name="Hillard, Laura" userId="fb6b425a-e8d9-473f-bcd9-e45358f5bb1d" providerId="ADAL" clId="{807B7B52-8E38-40A8-91A0-5B067DFCDF7D}" dt="2024-01-03T17:58:52.543" v="271" actId="2711"/>
          <ac:spMkLst>
            <pc:docMk/>
            <pc:sldMk cId="709803223" sldId="2147472422"/>
            <ac:spMk id="88" creationId="{A962F6CB-1499-3AD3-EE4D-AC3DD63BDA2C}"/>
          </ac:spMkLst>
        </pc:spChg>
        <pc:spChg chg="mod">
          <ac:chgData name="Hillard, Laura" userId="fb6b425a-e8d9-473f-bcd9-e45358f5bb1d" providerId="ADAL" clId="{807B7B52-8E38-40A8-91A0-5B067DFCDF7D}" dt="2024-01-03T17:58:52.543" v="271" actId="2711"/>
          <ac:spMkLst>
            <pc:docMk/>
            <pc:sldMk cId="709803223" sldId="2147472422"/>
            <ac:spMk id="91" creationId="{4968FCE1-0813-BD08-A98F-FDC5DEAFC943}"/>
          </ac:spMkLst>
        </pc:spChg>
        <pc:spChg chg="mod">
          <ac:chgData name="Hillard, Laura" userId="fb6b425a-e8d9-473f-bcd9-e45358f5bb1d" providerId="ADAL" clId="{807B7B52-8E38-40A8-91A0-5B067DFCDF7D}" dt="2024-01-03T17:58:52.543" v="271" actId="2711"/>
          <ac:spMkLst>
            <pc:docMk/>
            <pc:sldMk cId="709803223" sldId="2147472422"/>
            <ac:spMk id="92" creationId="{522E5508-54B9-F8D3-A134-9EEE253EE998}"/>
          </ac:spMkLst>
        </pc:spChg>
        <pc:spChg chg="mod">
          <ac:chgData name="Hillard, Laura" userId="fb6b425a-e8d9-473f-bcd9-e45358f5bb1d" providerId="ADAL" clId="{807B7B52-8E38-40A8-91A0-5B067DFCDF7D}" dt="2024-01-03T17:58:52.543" v="271" actId="2711"/>
          <ac:spMkLst>
            <pc:docMk/>
            <pc:sldMk cId="709803223" sldId="2147472422"/>
            <ac:spMk id="93" creationId="{5AEDD8BB-390E-3472-44DE-B811071299D0}"/>
          </ac:spMkLst>
        </pc:spChg>
        <pc:spChg chg="mod">
          <ac:chgData name="Hillard, Laura" userId="fb6b425a-e8d9-473f-bcd9-e45358f5bb1d" providerId="ADAL" clId="{807B7B52-8E38-40A8-91A0-5B067DFCDF7D}" dt="2024-01-03T17:58:52.543" v="271" actId="2711"/>
          <ac:spMkLst>
            <pc:docMk/>
            <pc:sldMk cId="709803223" sldId="2147472422"/>
            <ac:spMk id="94" creationId="{A3FAC0E8-8272-7125-38B5-A3FFAE1DDBA4}"/>
          </ac:spMkLst>
        </pc:spChg>
        <pc:spChg chg="mod">
          <ac:chgData name="Hillard, Laura" userId="fb6b425a-e8d9-473f-bcd9-e45358f5bb1d" providerId="ADAL" clId="{807B7B52-8E38-40A8-91A0-5B067DFCDF7D}" dt="2024-01-03T17:58:52.543" v="271" actId="2711"/>
          <ac:spMkLst>
            <pc:docMk/>
            <pc:sldMk cId="709803223" sldId="2147472422"/>
            <ac:spMk id="96" creationId="{A2005D76-B473-4AD3-CA47-DFD194B2F0A1}"/>
          </ac:spMkLst>
        </pc:spChg>
        <pc:spChg chg="mod">
          <ac:chgData name="Hillard, Laura" userId="fb6b425a-e8d9-473f-bcd9-e45358f5bb1d" providerId="ADAL" clId="{807B7B52-8E38-40A8-91A0-5B067DFCDF7D}" dt="2024-01-03T17:58:52.543" v="271" actId="2711"/>
          <ac:spMkLst>
            <pc:docMk/>
            <pc:sldMk cId="709803223" sldId="2147472422"/>
            <ac:spMk id="97" creationId="{CD6E9406-74A3-D47B-D4B7-8A43087FF78A}"/>
          </ac:spMkLst>
        </pc:spChg>
        <pc:spChg chg="mod">
          <ac:chgData name="Hillard, Laura" userId="fb6b425a-e8d9-473f-bcd9-e45358f5bb1d" providerId="ADAL" clId="{807B7B52-8E38-40A8-91A0-5B067DFCDF7D}" dt="2024-01-03T17:58:52.543" v="271" actId="2711"/>
          <ac:spMkLst>
            <pc:docMk/>
            <pc:sldMk cId="709803223" sldId="2147472422"/>
            <ac:spMk id="98" creationId="{6094AAA8-9CD2-9F28-8C23-7F3F53E5C723}"/>
          </ac:spMkLst>
        </pc:spChg>
        <pc:spChg chg="mod">
          <ac:chgData name="Hillard, Laura" userId="fb6b425a-e8d9-473f-bcd9-e45358f5bb1d" providerId="ADAL" clId="{807B7B52-8E38-40A8-91A0-5B067DFCDF7D}" dt="2024-01-03T17:58:52.543" v="271" actId="2711"/>
          <ac:spMkLst>
            <pc:docMk/>
            <pc:sldMk cId="709803223" sldId="2147472422"/>
            <ac:spMk id="99" creationId="{8B0EC021-C6E8-0F60-717A-A4E641E60A56}"/>
          </ac:spMkLst>
        </pc:spChg>
        <pc:spChg chg="mod">
          <ac:chgData name="Hillard, Laura" userId="fb6b425a-e8d9-473f-bcd9-e45358f5bb1d" providerId="ADAL" clId="{807B7B52-8E38-40A8-91A0-5B067DFCDF7D}" dt="2024-01-03T17:58:52.543" v="271" actId="2711"/>
          <ac:spMkLst>
            <pc:docMk/>
            <pc:sldMk cId="709803223" sldId="2147472422"/>
            <ac:spMk id="100" creationId="{4576AE9A-5A1A-8A48-6B2F-57EA6F11C96C}"/>
          </ac:spMkLst>
        </pc:spChg>
        <pc:spChg chg="mod">
          <ac:chgData name="Hillard, Laura" userId="fb6b425a-e8d9-473f-bcd9-e45358f5bb1d" providerId="ADAL" clId="{807B7B52-8E38-40A8-91A0-5B067DFCDF7D}" dt="2024-01-03T17:58:52.543" v="271" actId="2711"/>
          <ac:spMkLst>
            <pc:docMk/>
            <pc:sldMk cId="709803223" sldId="2147472422"/>
            <ac:spMk id="101" creationId="{4C7BF7B0-F155-1BF1-D975-069BAD9776B9}"/>
          </ac:spMkLst>
        </pc:spChg>
        <pc:spChg chg="mod">
          <ac:chgData name="Hillard, Laura" userId="fb6b425a-e8d9-473f-bcd9-e45358f5bb1d" providerId="ADAL" clId="{807B7B52-8E38-40A8-91A0-5B067DFCDF7D}" dt="2024-01-03T17:58:52.543" v="271" actId="2711"/>
          <ac:spMkLst>
            <pc:docMk/>
            <pc:sldMk cId="709803223" sldId="2147472422"/>
            <ac:spMk id="102" creationId="{B60CE6A3-CBF5-A707-7379-242A179F706F}"/>
          </ac:spMkLst>
        </pc:spChg>
        <pc:spChg chg="mod">
          <ac:chgData name="Hillard, Laura" userId="fb6b425a-e8d9-473f-bcd9-e45358f5bb1d" providerId="ADAL" clId="{807B7B52-8E38-40A8-91A0-5B067DFCDF7D}" dt="2024-01-03T17:58:52.543" v="271" actId="2711"/>
          <ac:spMkLst>
            <pc:docMk/>
            <pc:sldMk cId="709803223" sldId="2147472422"/>
            <ac:spMk id="111" creationId="{2AD491EA-8ECC-D55E-E63A-B4D2844F702B}"/>
          </ac:spMkLst>
        </pc:spChg>
        <pc:spChg chg="mod">
          <ac:chgData name="Hillard, Laura" userId="fb6b425a-e8d9-473f-bcd9-e45358f5bb1d" providerId="ADAL" clId="{807B7B52-8E38-40A8-91A0-5B067DFCDF7D}" dt="2024-01-03T17:58:52.543" v="271" actId="2711"/>
          <ac:spMkLst>
            <pc:docMk/>
            <pc:sldMk cId="709803223" sldId="2147472422"/>
            <ac:spMk id="113" creationId="{82465732-368D-4371-8EC8-CFBD0D90B740}"/>
          </ac:spMkLst>
        </pc:spChg>
        <pc:spChg chg="mod">
          <ac:chgData name="Hillard, Laura" userId="fb6b425a-e8d9-473f-bcd9-e45358f5bb1d" providerId="ADAL" clId="{807B7B52-8E38-40A8-91A0-5B067DFCDF7D}" dt="2024-01-03T17:58:52.543" v="271" actId="2711"/>
          <ac:spMkLst>
            <pc:docMk/>
            <pc:sldMk cId="709803223" sldId="2147472422"/>
            <ac:spMk id="114" creationId="{BA037419-7525-0CCD-9B07-F35AEBD9D44B}"/>
          </ac:spMkLst>
        </pc:spChg>
        <pc:spChg chg="mod">
          <ac:chgData name="Hillard, Laura" userId="fb6b425a-e8d9-473f-bcd9-e45358f5bb1d" providerId="ADAL" clId="{807B7B52-8E38-40A8-91A0-5B067DFCDF7D}" dt="2024-01-03T17:58:52.543" v="271" actId="2711"/>
          <ac:spMkLst>
            <pc:docMk/>
            <pc:sldMk cId="709803223" sldId="2147472422"/>
            <ac:spMk id="115" creationId="{733477F0-F667-0CBD-CD9C-EF2F2E91EE34}"/>
          </ac:spMkLst>
        </pc:spChg>
        <pc:spChg chg="del">
          <ac:chgData name="Hillard, Laura" userId="fb6b425a-e8d9-473f-bcd9-e45358f5bb1d" providerId="ADAL" clId="{807B7B52-8E38-40A8-91A0-5B067DFCDF7D}" dt="2024-01-03T17:56:43.294" v="196" actId="478"/>
          <ac:spMkLst>
            <pc:docMk/>
            <pc:sldMk cId="709803223" sldId="2147472422"/>
            <ac:spMk id="147" creationId="{7127AF44-4C3E-721A-B53E-96D6B50D0059}"/>
          </ac:spMkLst>
        </pc:spChg>
        <pc:grpChg chg="mod">
          <ac:chgData name="Hillard, Laura" userId="fb6b425a-e8d9-473f-bcd9-e45358f5bb1d" providerId="ADAL" clId="{807B7B52-8E38-40A8-91A0-5B067DFCDF7D}" dt="2024-01-03T17:58:52.543" v="271" actId="2711"/>
          <ac:grpSpMkLst>
            <pc:docMk/>
            <pc:sldMk cId="709803223" sldId="2147472422"/>
            <ac:grpSpMk id="104" creationId="{B1738E4C-B015-AC38-668B-06F804B19FBC}"/>
          </ac:grpSpMkLst>
        </pc:grpChg>
        <pc:grpChg chg="mod">
          <ac:chgData name="Hillard, Laura" userId="fb6b425a-e8d9-473f-bcd9-e45358f5bb1d" providerId="ADAL" clId="{807B7B52-8E38-40A8-91A0-5B067DFCDF7D}" dt="2024-01-03T17:58:52.543" v="271" actId="2711"/>
          <ac:grpSpMkLst>
            <pc:docMk/>
            <pc:sldMk cId="709803223" sldId="2147472422"/>
            <ac:grpSpMk id="110" creationId="{DC548394-B287-ECF5-1D6B-61097228E225}"/>
          </ac:grpSpMkLst>
        </pc:grpChg>
        <pc:grpChg chg="mod">
          <ac:chgData name="Hillard, Laura" userId="fb6b425a-e8d9-473f-bcd9-e45358f5bb1d" providerId="ADAL" clId="{807B7B52-8E38-40A8-91A0-5B067DFCDF7D}" dt="2024-01-03T17:58:52.543" v="271" actId="2711"/>
          <ac:grpSpMkLst>
            <pc:docMk/>
            <pc:sldMk cId="709803223" sldId="2147472422"/>
            <ac:grpSpMk id="117" creationId="{30968A22-F3A4-41C6-211A-31E5126527A3}"/>
          </ac:grpSpMkLst>
        </pc:grpChg>
        <pc:picChg chg="mod">
          <ac:chgData name="Hillard, Laura" userId="fb6b425a-e8d9-473f-bcd9-e45358f5bb1d" providerId="ADAL" clId="{807B7B52-8E38-40A8-91A0-5B067DFCDF7D}" dt="2024-01-03T17:58:52.543" v="271" actId="2711"/>
          <ac:picMkLst>
            <pc:docMk/>
            <pc:sldMk cId="709803223" sldId="2147472422"/>
            <ac:picMk id="105" creationId="{953D6E33-1E41-7963-572D-F637BD2340B0}"/>
          </ac:picMkLst>
        </pc:picChg>
        <pc:picChg chg="mod">
          <ac:chgData name="Hillard, Laura" userId="fb6b425a-e8d9-473f-bcd9-e45358f5bb1d" providerId="ADAL" clId="{807B7B52-8E38-40A8-91A0-5B067DFCDF7D}" dt="2024-01-03T17:58:52.543" v="271" actId="2711"/>
          <ac:picMkLst>
            <pc:docMk/>
            <pc:sldMk cId="709803223" sldId="2147472422"/>
            <ac:picMk id="106" creationId="{283D4EDB-6078-CC46-8BFC-99C783498415}"/>
          </ac:picMkLst>
        </pc:picChg>
        <pc:cxnChg chg="mod">
          <ac:chgData name="Hillard, Laura" userId="fb6b425a-e8d9-473f-bcd9-e45358f5bb1d" providerId="ADAL" clId="{807B7B52-8E38-40A8-91A0-5B067DFCDF7D}" dt="2024-01-03T17:58:52.543" v="271" actId="2711"/>
          <ac:cxnSpMkLst>
            <pc:docMk/>
            <pc:sldMk cId="709803223" sldId="2147472422"/>
            <ac:cxnSpMk id="82" creationId="{0C8E9BB9-FB56-7BC6-D126-77EAD4B3D4EC}"/>
          </ac:cxnSpMkLst>
        </pc:cxnChg>
        <pc:cxnChg chg="mod">
          <ac:chgData name="Hillard, Laura" userId="fb6b425a-e8d9-473f-bcd9-e45358f5bb1d" providerId="ADAL" clId="{807B7B52-8E38-40A8-91A0-5B067DFCDF7D}" dt="2024-01-03T17:58:52.543" v="271" actId="2711"/>
          <ac:cxnSpMkLst>
            <pc:docMk/>
            <pc:sldMk cId="709803223" sldId="2147472422"/>
            <ac:cxnSpMk id="86" creationId="{B684F088-C124-C1DA-A875-8F2BC30D78DF}"/>
          </ac:cxnSpMkLst>
        </pc:cxnChg>
        <pc:cxnChg chg="mod">
          <ac:chgData name="Hillard, Laura" userId="fb6b425a-e8d9-473f-bcd9-e45358f5bb1d" providerId="ADAL" clId="{807B7B52-8E38-40A8-91A0-5B067DFCDF7D}" dt="2024-01-03T17:58:52.543" v="271" actId="2711"/>
          <ac:cxnSpMkLst>
            <pc:docMk/>
            <pc:sldMk cId="709803223" sldId="2147472422"/>
            <ac:cxnSpMk id="87" creationId="{DD5F124D-92C1-285C-DE52-D60A07DC7AF5}"/>
          </ac:cxnSpMkLst>
        </pc:cxnChg>
        <pc:cxnChg chg="mod">
          <ac:chgData name="Hillard, Laura" userId="fb6b425a-e8d9-473f-bcd9-e45358f5bb1d" providerId="ADAL" clId="{807B7B52-8E38-40A8-91A0-5B067DFCDF7D}" dt="2024-01-03T17:58:52.543" v="271" actId="2711"/>
          <ac:cxnSpMkLst>
            <pc:docMk/>
            <pc:sldMk cId="709803223" sldId="2147472422"/>
            <ac:cxnSpMk id="89" creationId="{CBC5515E-60D2-BD24-5420-195A7F564236}"/>
          </ac:cxnSpMkLst>
        </pc:cxnChg>
        <pc:cxnChg chg="mod">
          <ac:chgData name="Hillard, Laura" userId="fb6b425a-e8d9-473f-bcd9-e45358f5bb1d" providerId="ADAL" clId="{807B7B52-8E38-40A8-91A0-5B067DFCDF7D}" dt="2024-01-03T17:58:52.543" v="271" actId="2711"/>
          <ac:cxnSpMkLst>
            <pc:docMk/>
            <pc:sldMk cId="709803223" sldId="2147472422"/>
            <ac:cxnSpMk id="90" creationId="{2FBA312D-92BA-A650-699A-F4DAB5ED5ACD}"/>
          </ac:cxnSpMkLst>
        </pc:cxnChg>
        <pc:cxnChg chg="mod">
          <ac:chgData name="Hillard, Laura" userId="fb6b425a-e8d9-473f-bcd9-e45358f5bb1d" providerId="ADAL" clId="{807B7B52-8E38-40A8-91A0-5B067DFCDF7D}" dt="2024-01-03T17:58:52.543" v="271" actId="2711"/>
          <ac:cxnSpMkLst>
            <pc:docMk/>
            <pc:sldMk cId="709803223" sldId="2147472422"/>
            <ac:cxnSpMk id="95" creationId="{46B22BAF-813A-5462-9C3B-A31D32C7C001}"/>
          </ac:cxnSpMkLst>
        </pc:cxnChg>
        <pc:cxnChg chg="mod">
          <ac:chgData name="Hillard, Laura" userId="fb6b425a-e8d9-473f-bcd9-e45358f5bb1d" providerId="ADAL" clId="{807B7B52-8E38-40A8-91A0-5B067DFCDF7D}" dt="2024-01-03T17:58:52.543" v="271" actId="2711"/>
          <ac:cxnSpMkLst>
            <pc:docMk/>
            <pc:sldMk cId="709803223" sldId="2147472422"/>
            <ac:cxnSpMk id="107" creationId="{CC43B0FA-7601-5EAA-75B4-F2AF22CF8719}"/>
          </ac:cxnSpMkLst>
        </pc:cxnChg>
        <pc:cxnChg chg="mod">
          <ac:chgData name="Hillard, Laura" userId="fb6b425a-e8d9-473f-bcd9-e45358f5bb1d" providerId="ADAL" clId="{807B7B52-8E38-40A8-91A0-5B067DFCDF7D}" dt="2024-01-03T17:58:52.543" v="271" actId="2711"/>
          <ac:cxnSpMkLst>
            <pc:docMk/>
            <pc:sldMk cId="709803223" sldId="2147472422"/>
            <ac:cxnSpMk id="108" creationId="{39268C40-B986-FE48-E2EA-35B81F0B3239}"/>
          </ac:cxnSpMkLst>
        </pc:cxnChg>
        <pc:cxnChg chg="mod">
          <ac:chgData name="Hillard, Laura" userId="fb6b425a-e8d9-473f-bcd9-e45358f5bb1d" providerId="ADAL" clId="{807B7B52-8E38-40A8-91A0-5B067DFCDF7D}" dt="2024-01-03T17:58:52.543" v="271" actId="2711"/>
          <ac:cxnSpMkLst>
            <pc:docMk/>
            <pc:sldMk cId="709803223" sldId="2147472422"/>
            <ac:cxnSpMk id="109" creationId="{8E5F9AB7-DA07-64DC-1FE7-615D29C1152D}"/>
          </ac:cxnSpMkLst>
        </pc:cxnChg>
        <pc:cxnChg chg="mod">
          <ac:chgData name="Hillard, Laura" userId="fb6b425a-e8d9-473f-bcd9-e45358f5bb1d" providerId="ADAL" clId="{807B7B52-8E38-40A8-91A0-5B067DFCDF7D}" dt="2024-01-03T17:58:52.543" v="271" actId="2711"/>
          <ac:cxnSpMkLst>
            <pc:docMk/>
            <pc:sldMk cId="709803223" sldId="2147472422"/>
            <ac:cxnSpMk id="112" creationId="{4519975D-C269-9722-4E97-A59956DB134E}"/>
          </ac:cxnSpMkLst>
        </pc:cxnChg>
      </pc:sldChg>
      <pc:sldChg chg="addSp delSp modSp add mod">
        <pc:chgData name="Hillard, Laura" userId="fb6b425a-e8d9-473f-bcd9-e45358f5bb1d" providerId="ADAL" clId="{807B7B52-8E38-40A8-91A0-5B067DFCDF7D}" dt="2024-01-03T18:00:50.698" v="489" actId="20577"/>
        <pc:sldMkLst>
          <pc:docMk/>
          <pc:sldMk cId="3197903079" sldId="2147472423"/>
        </pc:sldMkLst>
        <pc:spChg chg="add mod">
          <ac:chgData name="Hillard, Laura" userId="fb6b425a-e8d9-473f-bcd9-e45358f5bb1d" providerId="ADAL" clId="{807B7B52-8E38-40A8-91A0-5B067DFCDF7D}" dt="2024-01-03T17:57:22.284" v="214"/>
          <ac:spMkLst>
            <pc:docMk/>
            <pc:sldMk cId="3197903079" sldId="2147472423"/>
            <ac:spMk id="2" creationId="{48438A02-1691-FEE4-3797-F20FA2519BA3}"/>
          </ac:spMkLst>
        </pc:spChg>
        <pc:spChg chg="del">
          <ac:chgData name="Hillard, Laura" userId="fb6b425a-e8d9-473f-bcd9-e45358f5bb1d" providerId="ADAL" clId="{807B7B52-8E38-40A8-91A0-5B067DFCDF7D}" dt="2024-01-03T17:51:59.700" v="94" actId="478"/>
          <ac:spMkLst>
            <pc:docMk/>
            <pc:sldMk cId="3197903079" sldId="2147472423"/>
            <ac:spMk id="3" creationId="{9B881BD6-5F67-BDD1-7B1B-42993EB488AA}"/>
          </ac:spMkLst>
        </pc:spChg>
        <pc:spChg chg="add mod">
          <ac:chgData name="Hillard, Laura" userId="fb6b425a-e8d9-473f-bcd9-e45358f5bb1d" providerId="ADAL" clId="{807B7B52-8E38-40A8-91A0-5B067DFCDF7D}" dt="2024-01-03T17:59:38.931" v="418" actId="20577"/>
          <ac:spMkLst>
            <pc:docMk/>
            <pc:sldMk cId="3197903079" sldId="2147472423"/>
            <ac:spMk id="6" creationId="{CA0EDC14-14B9-7416-FCB8-D16F5780C6EB}"/>
          </ac:spMkLst>
        </pc:spChg>
        <pc:spChg chg="mod">
          <ac:chgData name="Hillard, Laura" userId="fb6b425a-e8d9-473f-bcd9-e45358f5bb1d" providerId="ADAL" clId="{807B7B52-8E38-40A8-91A0-5B067DFCDF7D}" dt="2024-01-03T18:00:39.037" v="481" actId="14100"/>
          <ac:spMkLst>
            <pc:docMk/>
            <pc:sldMk cId="3197903079" sldId="2147472423"/>
            <ac:spMk id="8" creationId="{5AC464E0-666C-2EC6-3252-937FACD0CF34}"/>
          </ac:spMkLst>
        </pc:spChg>
        <pc:spChg chg="mod">
          <ac:chgData name="Hillard, Laura" userId="fb6b425a-e8d9-473f-bcd9-e45358f5bb1d" providerId="ADAL" clId="{807B7B52-8E38-40A8-91A0-5B067DFCDF7D}" dt="2024-01-03T18:00:50.698" v="489" actId="20577"/>
          <ac:spMkLst>
            <pc:docMk/>
            <pc:sldMk cId="3197903079" sldId="2147472423"/>
            <ac:spMk id="12" creationId="{72720B30-E1E1-97DB-7864-34C6AF542EAF}"/>
          </ac:spMkLst>
        </pc:spChg>
        <pc:picChg chg="add mod">
          <ac:chgData name="Hillard, Laura" userId="fb6b425a-e8d9-473f-bcd9-e45358f5bb1d" providerId="ADAL" clId="{807B7B52-8E38-40A8-91A0-5B067DFCDF7D}" dt="2024-01-03T17:55:31.686" v="161" actId="14861"/>
          <ac:picMkLst>
            <pc:docMk/>
            <pc:sldMk cId="3197903079" sldId="2147472423"/>
            <ac:picMk id="5" creationId="{F338B23F-A638-50C7-8B7E-A57DFF56E7C3}"/>
          </ac:picMkLst>
        </pc:picChg>
        <pc:picChg chg="del mod">
          <ac:chgData name="Hillard, Laura" userId="fb6b425a-e8d9-473f-bcd9-e45358f5bb1d" providerId="ADAL" clId="{807B7B52-8E38-40A8-91A0-5B067DFCDF7D}" dt="2024-01-03T17:55:10.607" v="154" actId="478"/>
          <ac:picMkLst>
            <pc:docMk/>
            <pc:sldMk cId="3197903079" sldId="2147472423"/>
            <ac:picMk id="14" creationId="{FE506CFC-DB71-5A6D-FD09-57617C08DB72}"/>
          </ac:picMkLst>
        </pc:picChg>
      </pc:sldChg>
      <pc:sldChg chg="addSp delSp modSp add mod ord">
        <pc:chgData name="Hillard, Laura" userId="fb6b425a-e8d9-473f-bcd9-e45358f5bb1d" providerId="ADAL" clId="{807B7B52-8E38-40A8-91A0-5B067DFCDF7D}" dt="2024-01-03T18:55:35.054" v="1401" actId="113"/>
        <pc:sldMkLst>
          <pc:docMk/>
          <pc:sldMk cId="628887419" sldId="2147472424"/>
        </pc:sldMkLst>
        <pc:spChg chg="add mod">
          <ac:chgData name="Hillard, Laura" userId="fb6b425a-e8d9-473f-bcd9-e45358f5bb1d" providerId="ADAL" clId="{807B7B52-8E38-40A8-91A0-5B067DFCDF7D}" dt="2024-01-03T18:53:27.861" v="1337" actId="20577"/>
          <ac:spMkLst>
            <pc:docMk/>
            <pc:sldMk cId="628887419" sldId="2147472424"/>
            <ac:spMk id="2" creationId="{456C2753-9C97-152B-FE0E-BA7A87ABBD54}"/>
          </ac:spMkLst>
        </pc:spChg>
        <pc:spChg chg="add mod">
          <ac:chgData name="Hillard, Laura" userId="fb6b425a-e8d9-473f-bcd9-e45358f5bb1d" providerId="ADAL" clId="{807B7B52-8E38-40A8-91A0-5B067DFCDF7D}" dt="2024-01-03T18:08:04.442" v="832" actId="1076"/>
          <ac:spMkLst>
            <pc:docMk/>
            <pc:sldMk cId="628887419" sldId="2147472424"/>
            <ac:spMk id="3" creationId="{CE675AE2-7092-398D-3E4B-D7FED9606542}"/>
          </ac:spMkLst>
        </pc:spChg>
        <pc:spChg chg="mod">
          <ac:chgData name="Hillard, Laura" userId="fb6b425a-e8d9-473f-bcd9-e45358f5bb1d" providerId="ADAL" clId="{807B7B52-8E38-40A8-91A0-5B067DFCDF7D}" dt="2024-01-03T18:55:35.054" v="1401" actId="113"/>
          <ac:spMkLst>
            <pc:docMk/>
            <pc:sldMk cId="628887419" sldId="2147472424"/>
            <ac:spMk id="8" creationId="{CFFD6CDD-B17F-5326-5ED1-CB1A9404D6C0}"/>
          </ac:spMkLst>
        </pc:spChg>
        <pc:spChg chg="mod">
          <ac:chgData name="Hillard, Laura" userId="fb6b425a-e8d9-473f-bcd9-e45358f5bb1d" providerId="ADAL" clId="{807B7B52-8E38-40A8-91A0-5B067DFCDF7D}" dt="2024-01-03T18:08:57.815" v="950" actId="20577"/>
          <ac:spMkLst>
            <pc:docMk/>
            <pc:sldMk cId="628887419" sldId="2147472424"/>
            <ac:spMk id="10" creationId="{4E1D30F1-2CF8-56E6-473D-CEACD5D5DC75}"/>
          </ac:spMkLst>
        </pc:spChg>
        <pc:spChg chg="mod">
          <ac:chgData name="Hillard, Laura" userId="fb6b425a-e8d9-473f-bcd9-e45358f5bb1d" providerId="ADAL" clId="{807B7B52-8E38-40A8-91A0-5B067DFCDF7D}" dt="2024-01-03T18:33:59.820" v="1138" actId="20577"/>
          <ac:spMkLst>
            <pc:docMk/>
            <pc:sldMk cId="628887419" sldId="2147472424"/>
            <ac:spMk id="16" creationId="{3EEDA334-D057-44BE-8283-82F38687D121}"/>
          </ac:spMkLst>
        </pc:spChg>
        <pc:picChg chg="del">
          <ac:chgData name="Hillard, Laura" userId="fb6b425a-e8d9-473f-bcd9-e45358f5bb1d" providerId="ADAL" clId="{807B7B52-8E38-40A8-91A0-5B067DFCDF7D}" dt="2024-01-03T18:02:36.305" v="560" actId="478"/>
          <ac:picMkLst>
            <pc:docMk/>
            <pc:sldMk cId="628887419" sldId="2147472424"/>
            <ac:picMk id="9" creationId="{821F43D6-D4C3-707F-4818-A75873DB3F84}"/>
          </ac:picMkLst>
        </pc:picChg>
        <pc:picChg chg="del">
          <ac:chgData name="Hillard, Laura" userId="fb6b425a-e8d9-473f-bcd9-e45358f5bb1d" providerId="ADAL" clId="{807B7B52-8E38-40A8-91A0-5B067DFCDF7D}" dt="2024-01-03T18:02:36.305" v="560" actId="478"/>
          <ac:picMkLst>
            <pc:docMk/>
            <pc:sldMk cId="628887419" sldId="2147472424"/>
            <ac:picMk id="13" creationId="{B2BF1FC7-E573-4FCD-70C2-2E3E2F0245B1}"/>
          </ac:picMkLst>
        </pc:picChg>
      </pc:sldChg>
      <pc:sldChg chg="add del">
        <pc:chgData name="Hillard, Laura" userId="fb6b425a-e8d9-473f-bcd9-e45358f5bb1d" providerId="ADAL" clId="{807B7B52-8E38-40A8-91A0-5B067DFCDF7D}" dt="2024-01-03T18:02:19.202" v="536"/>
        <pc:sldMkLst>
          <pc:docMk/>
          <pc:sldMk cId="1365226695" sldId="2147472424"/>
        </pc:sldMkLst>
      </pc:sldChg>
      <pc:sldChg chg="modSp add mod ord">
        <pc:chgData name="Hillard, Laura" userId="fb6b425a-e8d9-473f-bcd9-e45358f5bb1d" providerId="ADAL" clId="{807B7B52-8E38-40A8-91A0-5B067DFCDF7D}" dt="2024-01-03T18:53:19.828" v="1327" actId="20577"/>
        <pc:sldMkLst>
          <pc:docMk/>
          <pc:sldMk cId="2667970515" sldId="2147472425"/>
        </pc:sldMkLst>
        <pc:spChg chg="mod">
          <ac:chgData name="Hillard, Laura" userId="fb6b425a-e8d9-473f-bcd9-e45358f5bb1d" providerId="ADAL" clId="{807B7B52-8E38-40A8-91A0-5B067DFCDF7D}" dt="2024-01-03T18:53:19.828" v="1327" actId="20577"/>
          <ac:spMkLst>
            <pc:docMk/>
            <pc:sldMk cId="2667970515" sldId="2147472425"/>
            <ac:spMk id="10" creationId="{4E1D30F1-2CF8-56E6-473D-CEACD5D5DC75}"/>
          </ac:spMkLst>
        </pc:spChg>
        <pc:spChg chg="mod">
          <ac:chgData name="Hillard, Laura" userId="fb6b425a-e8d9-473f-bcd9-e45358f5bb1d" providerId="ADAL" clId="{807B7B52-8E38-40A8-91A0-5B067DFCDF7D}" dt="2024-01-03T18:02:44.312" v="572" actId="20577"/>
          <ac:spMkLst>
            <pc:docMk/>
            <pc:sldMk cId="2667970515" sldId="2147472425"/>
            <ac:spMk id="16" creationId="{3EEDA334-D057-44BE-8283-82F38687D121}"/>
          </ac:spMkLst>
        </pc:spChg>
      </pc:sldChg>
      <pc:sldChg chg="add del">
        <pc:chgData name="Hillard, Laura" userId="fb6b425a-e8d9-473f-bcd9-e45358f5bb1d" providerId="ADAL" clId="{807B7B52-8E38-40A8-91A0-5B067DFCDF7D}" dt="2024-01-03T18:02:23.308" v="539" actId="47"/>
        <pc:sldMkLst>
          <pc:docMk/>
          <pc:sldMk cId="3193532116" sldId="2147472425"/>
        </pc:sldMkLst>
      </pc:sldChg>
    </pc:docChg>
  </pc:docChgLst>
  <pc:docChgLst>
    <pc:chgData name="Hillard, Laura" userId="fb6b425a-e8d9-473f-bcd9-e45358f5bb1d" providerId="ADAL" clId="{940BD8D6-4ACC-4BDA-931B-DE1F917FC343}"/>
    <pc:docChg chg="modSld">
      <pc:chgData name="Hillard, Laura" userId="fb6b425a-e8d9-473f-bcd9-e45358f5bb1d" providerId="ADAL" clId="{940BD8D6-4ACC-4BDA-931B-DE1F917FC343}" dt="2023-05-10T19:29:30.138" v="0" actId="1036"/>
      <pc:docMkLst>
        <pc:docMk/>
      </pc:docMkLst>
      <pc:sldChg chg="modSp mod">
        <pc:chgData name="Hillard, Laura" userId="fb6b425a-e8d9-473f-bcd9-e45358f5bb1d" providerId="ADAL" clId="{940BD8D6-4ACC-4BDA-931B-DE1F917FC343}" dt="2023-05-10T19:29:30.138" v="0" actId="1036"/>
        <pc:sldMkLst>
          <pc:docMk/>
          <pc:sldMk cId="1192267893" sldId="2147309716"/>
        </pc:sldMkLst>
        <pc:picChg chg="mod">
          <ac:chgData name="Hillard, Laura" userId="fb6b425a-e8d9-473f-bcd9-e45358f5bb1d" providerId="ADAL" clId="{940BD8D6-4ACC-4BDA-931B-DE1F917FC343}" dt="2023-05-10T19:29:30.138" v="0" actId="1036"/>
          <ac:picMkLst>
            <pc:docMk/>
            <pc:sldMk cId="1192267893" sldId="2147309716"/>
            <ac:picMk id="7" creationId="{FCE563AF-AEE7-4467-923F-EC7301536FD1}"/>
          </ac:picMkLst>
        </pc:picChg>
      </pc:sldChg>
    </pc:docChg>
  </pc:docChgLst>
  <pc:docChgLst>
    <pc:chgData name="Hillard, Laura" userId="fb6b425a-e8d9-473f-bcd9-e45358f5bb1d" providerId="ADAL" clId="{ED5B23FA-AB2C-498E-AB64-7CAD937BFAF4}"/>
    <pc:docChg chg="undo redo custSel addSld delSld modSld sldOrd delMainMaster modMainMaster addSection modSection">
      <pc:chgData name="Hillard, Laura" userId="fb6b425a-e8d9-473f-bcd9-e45358f5bb1d" providerId="ADAL" clId="{ED5B23FA-AB2C-498E-AB64-7CAD937BFAF4}" dt="2023-08-18T20:41:02.471" v="4648" actId="20577"/>
      <pc:docMkLst>
        <pc:docMk/>
      </pc:docMkLst>
      <pc:sldChg chg="delSp modSp del mod">
        <pc:chgData name="Hillard, Laura" userId="fb6b425a-e8d9-473f-bcd9-e45358f5bb1d" providerId="ADAL" clId="{ED5B23FA-AB2C-498E-AB64-7CAD937BFAF4}" dt="2023-08-17T20:13:18.912" v="190" actId="47"/>
        <pc:sldMkLst>
          <pc:docMk/>
          <pc:sldMk cId="3173973612" sldId="578"/>
        </pc:sldMkLst>
        <pc:grpChg chg="mod">
          <ac:chgData name="Hillard, Laura" userId="fb6b425a-e8d9-473f-bcd9-e45358f5bb1d" providerId="ADAL" clId="{ED5B23FA-AB2C-498E-AB64-7CAD937BFAF4}" dt="2023-08-17T20:13:09.958" v="189" actId="1076"/>
          <ac:grpSpMkLst>
            <pc:docMk/>
            <pc:sldMk cId="3173973612" sldId="578"/>
            <ac:grpSpMk id="7" creationId="{A68FE82A-19FB-490A-991E-5F55000644BD}"/>
          </ac:grpSpMkLst>
        </pc:grpChg>
        <pc:grpChg chg="del">
          <ac:chgData name="Hillard, Laura" userId="fb6b425a-e8d9-473f-bcd9-e45358f5bb1d" providerId="ADAL" clId="{ED5B23FA-AB2C-498E-AB64-7CAD937BFAF4}" dt="2023-08-17T20:13:00.895" v="186" actId="478"/>
          <ac:grpSpMkLst>
            <pc:docMk/>
            <pc:sldMk cId="3173973612" sldId="578"/>
            <ac:grpSpMk id="8" creationId="{B87F0722-7619-42F1-BF4C-BE9B68CFE56C}"/>
          </ac:grpSpMkLst>
        </pc:grpChg>
        <pc:grpChg chg="del">
          <ac:chgData name="Hillard, Laura" userId="fb6b425a-e8d9-473f-bcd9-e45358f5bb1d" providerId="ADAL" clId="{ED5B23FA-AB2C-498E-AB64-7CAD937BFAF4}" dt="2023-08-17T20:13:03.268" v="187" actId="478"/>
          <ac:grpSpMkLst>
            <pc:docMk/>
            <pc:sldMk cId="3173973612" sldId="578"/>
            <ac:grpSpMk id="19" creationId="{5C273FF9-7E43-4F19-B519-555293015887}"/>
          </ac:grpSpMkLst>
        </pc:grpChg>
        <pc:grpChg chg="del">
          <ac:chgData name="Hillard, Laura" userId="fb6b425a-e8d9-473f-bcd9-e45358f5bb1d" providerId="ADAL" clId="{ED5B23FA-AB2C-498E-AB64-7CAD937BFAF4}" dt="2023-08-17T20:13:06.252" v="188" actId="478"/>
          <ac:grpSpMkLst>
            <pc:docMk/>
            <pc:sldMk cId="3173973612" sldId="578"/>
            <ac:grpSpMk id="21" creationId="{2029F4EB-7B16-4FE7-8451-C446FE1AA010}"/>
          </ac:grpSpMkLst>
        </pc:grpChg>
      </pc:sldChg>
      <pc:sldChg chg="add del">
        <pc:chgData name="Hillard, Laura" userId="fb6b425a-e8d9-473f-bcd9-e45358f5bb1d" providerId="ADAL" clId="{ED5B23FA-AB2C-498E-AB64-7CAD937BFAF4}" dt="2023-08-18T19:04:04.938" v="3030" actId="47"/>
        <pc:sldMkLst>
          <pc:docMk/>
          <pc:sldMk cId="3721032621" sldId="12477"/>
        </pc:sldMkLst>
      </pc:sldChg>
      <pc:sldChg chg="delSp modSp add mod ord modTransition">
        <pc:chgData name="Hillard, Laura" userId="fb6b425a-e8d9-473f-bcd9-e45358f5bb1d" providerId="ADAL" clId="{ED5B23FA-AB2C-498E-AB64-7CAD937BFAF4}" dt="2023-08-18T17:48:04.484" v="2950"/>
        <pc:sldMkLst>
          <pc:docMk/>
          <pc:sldMk cId="836433360" sldId="2147309316"/>
        </pc:sldMkLst>
        <pc:spChg chg="mod">
          <ac:chgData name="Hillard, Laura" userId="fb6b425a-e8d9-473f-bcd9-e45358f5bb1d" providerId="ADAL" clId="{ED5B23FA-AB2C-498E-AB64-7CAD937BFAF4}" dt="2023-08-18T02:38:28.105" v="1064" actId="1035"/>
          <ac:spMkLst>
            <pc:docMk/>
            <pc:sldMk cId="836433360" sldId="2147309316"/>
            <ac:spMk id="4" creationId="{1F98FA88-AED9-4172-A77E-CCDDA17E9CD5}"/>
          </ac:spMkLst>
        </pc:spChg>
        <pc:spChg chg="mod">
          <ac:chgData name="Hillard, Laura" userId="fb6b425a-e8d9-473f-bcd9-e45358f5bb1d" providerId="ADAL" clId="{ED5B23FA-AB2C-498E-AB64-7CAD937BFAF4}" dt="2023-08-17T21:08:43.204" v="912" actId="207"/>
          <ac:spMkLst>
            <pc:docMk/>
            <pc:sldMk cId="836433360" sldId="2147309316"/>
            <ac:spMk id="6" creationId="{2AE7D553-7CB2-4047-A9DE-AA82E0C66AE6}"/>
          </ac:spMkLst>
        </pc:spChg>
        <pc:spChg chg="del mod">
          <ac:chgData name="Hillard, Laura" userId="fb6b425a-e8d9-473f-bcd9-e45358f5bb1d" providerId="ADAL" clId="{ED5B23FA-AB2C-498E-AB64-7CAD937BFAF4}" dt="2023-08-17T21:10:58.791" v="954" actId="478"/>
          <ac:spMkLst>
            <pc:docMk/>
            <pc:sldMk cId="836433360" sldId="2147309316"/>
            <ac:spMk id="8" creationId="{D6FD9078-053F-41F8-83E3-A94003F49952}"/>
          </ac:spMkLst>
        </pc:spChg>
        <pc:spChg chg="mod">
          <ac:chgData name="Hillard, Laura" userId="fb6b425a-e8d9-473f-bcd9-e45358f5bb1d" providerId="ADAL" clId="{ED5B23FA-AB2C-498E-AB64-7CAD937BFAF4}" dt="2023-08-18T02:38:28.105" v="1064" actId="1035"/>
          <ac:spMkLst>
            <pc:docMk/>
            <pc:sldMk cId="836433360" sldId="2147309316"/>
            <ac:spMk id="9" creationId="{A20F5400-D6C0-4D34-861F-033D9CCF175B}"/>
          </ac:spMkLst>
        </pc:spChg>
        <pc:spChg chg="mod">
          <ac:chgData name="Hillard, Laura" userId="fb6b425a-e8d9-473f-bcd9-e45358f5bb1d" providerId="ADAL" clId="{ED5B23FA-AB2C-498E-AB64-7CAD937BFAF4}" dt="2023-08-18T02:38:28.105" v="1064" actId="1035"/>
          <ac:spMkLst>
            <pc:docMk/>
            <pc:sldMk cId="836433360" sldId="2147309316"/>
            <ac:spMk id="12" creationId="{7B7B47BB-7E03-4CAE-B9A2-2E871C056AA5}"/>
          </ac:spMkLst>
        </pc:spChg>
        <pc:spChg chg="del mod">
          <ac:chgData name="Hillard, Laura" userId="fb6b425a-e8d9-473f-bcd9-e45358f5bb1d" providerId="ADAL" clId="{ED5B23FA-AB2C-498E-AB64-7CAD937BFAF4}" dt="2023-08-17T21:10:58.791" v="954" actId="478"/>
          <ac:spMkLst>
            <pc:docMk/>
            <pc:sldMk cId="836433360" sldId="2147309316"/>
            <ac:spMk id="15" creationId="{92CB158A-F2DD-44A8-90E4-E10C02230CEC}"/>
          </ac:spMkLst>
        </pc:spChg>
        <pc:spChg chg="mod">
          <ac:chgData name="Hillard, Laura" userId="fb6b425a-e8d9-473f-bcd9-e45358f5bb1d" providerId="ADAL" clId="{ED5B23FA-AB2C-498E-AB64-7CAD937BFAF4}" dt="2023-08-17T21:09:05.189" v="921" actId="20577"/>
          <ac:spMkLst>
            <pc:docMk/>
            <pc:sldMk cId="836433360" sldId="2147309316"/>
            <ac:spMk id="18" creationId="{9EE8B5EA-9DF9-4492-81E9-1C6A52C24756}"/>
          </ac:spMkLst>
        </pc:spChg>
        <pc:grpChg chg="del">
          <ac:chgData name="Hillard, Laura" userId="fb6b425a-e8d9-473f-bcd9-e45358f5bb1d" providerId="ADAL" clId="{ED5B23FA-AB2C-498E-AB64-7CAD937BFAF4}" dt="2023-08-17T21:08:37.091" v="911" actId="478"/>
          <ac:grpSpMkLst>
            <pc:docMk/>
            <pc:sldMk cId="836433360" sldId="2147309316"/>
            <ac:grpSpMk id="11" creationId="{C598DDC0-D84A-4945-BACB-B0A1F6005F70}"/>
          </ac:grpSpMkLst>
        </pc:grpChg>
      </pc:sldChg>
      <pc:sldChg chg="ord">
        <pc:chgData name="Hillard, Laura" userId="fb6b425a-e8d9-473f-bcd9-e45358f5bb1d" providerId="ADAL" clId="{ED5B23FA-AB2C-498E-AB64-7CAD937BFAF4}" dt="2023-08-18T17:48:35.994" v="2956"/>
        <pc:sldMkLst>
          <pc:docMk/>
          <pc:sldMk cId="2618963904" sldId="2147309661"/>
        </pc:sldMkLst>
      </pc:sldChg>
      <pc:sldChg chg="addSp delSp modSp mod">
        <pc:chgData name="Hillard, Laura" userId="fb6b425a-e8d9-473f-bcd9-e45358f5bb1d" providerId="ADAL" clId="{ED5B23FA-AB2C-498E-AB64-7CAD937BFAF4}" dt="2023-08-18T19:46:32.857" v="3300"/>
        <pc:sldMkLst>
          <pc:docMk/>
          <pc:sldMk cId="890227972" sldId="2147309685"/>
        </pc:sldMkLst>
        <pc:spChg chg="mod">
          <ac:chgData name="Hillard, Laura" userId="fb6b425a-e8d9-473f-bcd9-e45358f5bb1d" providerId="ADAL" clId="{ED5B23FA-AB2C-498E-AB64-7CAD937BFAF4}" dt="2023-08-17T17:18:50.683" v="11" actId="14100"/>
          <ac:spMkLst>
            <pc:docMk/>
            <pc:sldMk cId="890227972" sldId="2147309685"/>
            <ac:spMk id="2" creationId="{8CAA8C08-6D6C-47B2-8D11-6C4BC1726A7C}"/>
          </ac:spMkLst>
        </pc:spChg>
        <pc:spChg chg="mod">
          <ac:chgData name="Hillard, Laura" userId="fb6b425a-e8d9-473f-bcd9-e45358f5bb1d" providerId="ADAL" clId="{ED5B23FA-AB2C-498E-AB64-7CAD937BFAF4}" dt="2023-08-17T17:20:20.061" v="61" actId="20577"/>
          <ac:spMkLst>
            <pc:docMk/>
            <pc:sldMk cId="890227972" sldId="2147309685"/>
            <ac:spMk id="4" creationId="{FDD404E2-CC8D-4600-A159-7D553546ACF7}"/>
          </ac:spMkLst>
        </pc:spChg>
        <pc:spChg chg="add del">
          <ac:chgData name="Hillard, Laura" userId="fb6b425a-e8d9-473f-bcd9-e45358f5bb1d" providerId="ADAL" clId="{ED5B23FA-AB2C-498E-AB64-7CAD937BFAF4}" dt="2023-08-18T19:46:11.309" v="3299" actId="478"/>
          <ac:spMkLst>
            <pc:docMk/>
            <pc:sldMk cId="890227972" sldId="2147309685"/>
            <ac:spMk id="8" creationId="{9C2CECF1-9716-4118-0FEA-65674043571B}"/>
          </ac:spMkLst>
        </pc:spChg>
        <pc:spChg chg="mod">
          <ac:chgData name="Hillard, Laura" userId="fb6b425a-e8d9-473f-bcd9-e45358f5bb1d" providerId="ADAL" clId="{ED5B23FA-AB2C-498E-AB64-7CAD937BFAF4}" dt="2023-08-17T17:20:11.688" v="38" actId="20577"/>
          <ac:spMkLst>
            <pc:docMk/>
            <pc:sldMk cId="890227972" sldId="2147309685"/>
            <ac:spMk id="12" creationId="{AADD7C45-509A-4A7D-BAFA-5E5B3166312F}"/>
          </ac:spMkLst>
        </pc:spChg>
        <pc:spChg chg="mod">
          <ac:chgData name="Hillard, Laura" userId="fb6b425a-e8d9-473f-bcd9-e45358f5bb1d" providerId="ADAL" clId="{ED5B23FA-AB2C-498E-AB64-7CAD937BFAF4}" dt="2023-08-17T17:19:34.951" v="20" actId="207"/>
          <ac:spMkLst>
            <pc:docMk/>
            <pc:sldMk cId="890227972" sldId="2147309685"/>
            <ac:spMk id="39" creationId="{2850D06F-4CE8-41E4-851A-B3B972D04338}"/>
          </ac:spMkLst>
        </pc:spChg>
        <pc:spChg chg="mod">
          <ac:chgData name="Hillard, Laura" userId="fb6b425a-e8d9-473f-bcd9-e45358f5bb1d" providerId="ADAL" clId="{ED5B23FA-AB2C-498E-AB64-7CAD937BFAF4}" dt="2023-08-17T17:19:22.741" v="18" actId="207"/>
          <ac:spMkLst>
            <pc:docMk/>
            <pc:sldMk cId="890227972" sldId="2147309685"/>
            <ac:spMk id="41" creationId="{9C9ABCE6-2200-4785-B450-E6C4B4D83221}"/>
          </ac:spMkLst>
        </pc:spChg>
        <pc:spChg chg="mod">
          <ac:chgData name="Hillard, Laura" userId="fb6b425a-e8d9-473f-bcd9-e45358f5bb1d" providerId="ADAL" clId="{ED5B23FA-AB2C-498E-AB64-7CAD937BFAF4}" dt="2023-08-17T17:19:41.010" v="21" actId="207"/>
          <ac:spMkLst>
            <pc:docMk/>
            <pc:sldMk cId="890227972" sldId="2147309685"/>
            <ac:spMk id="42" creationId="{5CDF3D63-F23E-4BFE-9B41-BBAA18B9D29F}"/>
          </ac:spMkLst>
        </pc:spChg>
        <pc:spChg chg="mod">
          <ac:chgData name="Hillard, Laura" userId="fb6b425a-e8d9-473f-bcd9-e45358f5bb1d" providerId="ADAL" clId="{ED5B23FA-AB2C-498E-AB64-7CAD937BFAF4}" dt="2023-08-17T17:19:22.741" v="18" actId="207"/>
          <ac:spMkLst>
            <pc:docMk/>
            <pc:sldMk cId="890227972" sldId="2147309685"/>
            <ac:spMk id="44" creationId="{09E9025F-C7EF-49A4-9A26-837C2CED6FC1}"/>
          </ac:spMkLst>
        </pc:spChg>
        <pc:spChg chg="mod">
          <ac:chgData name="Hillard, Laura" userId="fb6b425a-e8d9-473f-bcd9-e45358f5bb1d" providerId="ADAL" clId="{ED5B23FA-AB2C-498E-AB64-7CAD937BFAF4}" dt="2023-08-17T17:19:22.741" v="18" actId="207"/>
          <ac:spMkLst>
            <pc:docMk/>
            <pc:sldMk cId="890227972" sldId="2147309685"/>
            <ac:spMk id="46" creationId="{4971BCD8-BBBA-4327-90FC-747711247A66}"/>
          </ac:spMkLst>
        </pc:spChg>
        <pc:spChg chg="mod">
          <ac:chgData name="Hillard, Laura" userId="fb6b425a-e8d9-473f-bcd9-e45358f5bb1d" providerId="ADAL" clId="{ED5B23FA-AB2C-498E-AB64-7CAD937BFAF4}" dt="2023-08-17T17:19:22.741" v="18" actId="207"/>
          <ac:spMkLst>
            <pc:docMk/>
            <pc:sldMk cId="890227972" sldId="2147309685"/>
            <ac:spMk id="47" creationId="{B5566D16-F841-4E94-92A9-2663E49440C3}"/>
          </ac:spMkLst>
        </pc:spChg>
        <pc:spChg chg="mod">
          <ac:chgData name="Hillard, Laura" userId="fb6b425a-e8d9-473f-bcd9-e45358f5bb1d" providerId="ADAL" clId="{ED5B23FA-AB2C-498E-AB64-7CAD937BFAF4}" dt="2023-08-17T17:19:22.741" v="18" actId="207"/>
          <ac:spMkLst>
            <pc:docMk/>
            <pc:sldMk cId="890227972" sldId="2147309685"/>
            <ac:spMk id="48" creationId="{78762200-03B1-44A4-B198-A96A8566E294}"/>
          </ac:spMkLst>
        </pc:spChg>
        <pc:spChg chg="mod">
          <ac:chgData name="Hillard, Laura" userId="fb6b425a-e8d9-473f-bcd9-e45358f5bb1d" providerId="ADAL" clId="{ED5B23FA-AB2C-498E-AB64-7CAD937BFAF4}" dt="2023-08-17T20:34:34.427" v="383" actId="208"/>
          <ac:spMkLst>
            <pc:docMk/>
            <pc:sldMk cId="890227972" sldId="2147309685"/>
            <ac:spMk id="49" creationId="{4BAA7AF1-52A5-41C5-888E-63469CF85B7D}"/>
          </ac:spMkLst>
        </pc:spChg>
        <pc:spChg chg="mod">
          <ac:chgData name="Hillard, Laura" userId="fb6b425a-e8d9-473f-bcd9-e45358f5bb1d" providerId="ADAL" clId="{ED5B23FA-AB2C-498E-AB64-7CAD937BFAF4}" dt="2023-08-17T20:34:36.968" v="384" actId="208"/>
          <ac:spMkLst>
            <pc:docMk/>
            <pc:sldMk cId="890227972" sldId="2147309685"/>
            <ac:spMk id="50" creationId="{47DAE280-F4B7-478B-A8F6-A7FC2F0848B7}"/>
          </ac:spMkLst>
        </pc:spChg>
        <pc:grpChg chg="mod">
          <ac:chgData name="Hillard, Laura" userId="fb6b425a-e8d9-473f-bcd9-e45358f5bb1d" providerId="ADAL" clId="{ED5B23FA-AB2C-498E-AB64-7CAD937BFAF4}" dt="2023-08-17T17:19:22.741" v="18" actId="207"/>
          <ac:grpSpMkLst>
            <pc:docMk/>
            <pc:sldMk cId="890227972" sldId="2147309685"/>
            <ac:grpSpMk id="37" creationId="{ADAC7F82-1D82-472E-AD81-61F9CF39B1BE}"/>
          </ac:grpSpMkLst>
        </pc:grpChg>
        <pc:grpChg chg="mod">
          <ac:chgData name="Hillard, Laura" userId="fb6b425a-e8d9-473f-bcd9-e45358f5bb1d" providerId="ADAL" clId="{ED5B23FA-AB2C-498E-AB64-7CAD937BFAF4}" dt="2023-08-17T17:19:22.741" v="18" actId="207"/>
          <ac:grpSpMkLst>
            <pc:docMk/>
            <pc:sldMk cId="890227972" sldId="2147309685"/>
            <ac:grpSpMk id="38" creationId="{ECFC6D81-A68E-43AA-9AEF-AAE9B59A2246}"/>
          </ac:grpSpMkLst>
        </pc:grpChg>
        <pc:grpChg chg="mod">
          <ac:chgData name="Hillard, Laura" userId="fb6b425a-e8d9-473f-bcd9-e45358f5bb1d" providerId="ADAL" clId="{ED5B23FA-AB2C-498E-AB64-7CAD937BFAF4}" dt="2023-08-17T17:19:22.741" v="18" actId="207"/>
          <ac:grpSpMkLst>
            <pc:docMk/>
            <pc:sldMk cId="890227972" sldId="2147309685"/>
            <ac:grpSpMk id="40" creationId="{836E8F74-BD4E-4D71-9A08-01A0D94EE766}"/>
          </ac:grpSpMkLst>
        </pc:grpChg>
        <pc:grpChg chg="mod">
          <ac:chgData name="Hillard, Laura" userId="fb6b425a-e8d9-473f-bcd9-e45358f5bb1d" providerId="ADAL" clId="{ED5B23FA-AB2C-498E-AB64-7CAD937BFAF4}" dt="2023-08-17T17:19:22.741" v="18" actId="207"/>
          <ac:grpSpMkLst>
            <pc:docMk/>
            <pc:sldMk cId="890227972" sldId="2147309685"/>
            <ac:grpSpMk id="43" creationId="{6D1FD5C8-337C-41DC-9289-D42A916E6F4E}"/>
          </ac:grpSpMkLst>
        </pc:grpChg>
        <pc:grpChg chg="mod">
          <ac:chgData name="Hillard, Laura" userId="fb6b425a-e8d9-473f-bcd9-e45358f5bb1d" providerId="ADAL" clId="{ED5B23FA-AB2C-498E-AB64-7CAD937BFAF4}" dt="2023-08-17T17:19:22.741" v="18" actId="207"/>
          <ac:grpSpMkLst>
            <pc:docMk/>
            <pc:sldMk cId="890227972" sldId="2147309685"/>
            <ac:grpSpMk id="45" creationId="{17B6F741-16C2-4706-8FC7-2BB0C6B6B932}"/>
          </ac:grpSpMkLst>
        </pc:grpChg>
        <pc:picChg chg="del">
          <ac:chgData name="Hillard, Laura" userId="fb6b425a-e8d9-473f-bcd9-e45358f5bb1d" providerId="ADAL" clId="{ED5B23FA-AB2C-498E-AB64-7CAD937BFAF4}" dt="2023-08-17T17:18:53.612" v="12" actId="478"/>
          <ac:picMkLst>
            <pc:docMk/>
            <pc:sldMk cId="890227972" sldId="2147309685"/>
            <ac:picMk id="3" creationId="{72346DC6-E7C4-4F74-BF6D-9CC351229BE9}"/>
          </ac:picMkLst>
        </pc:picChg>
        <pc:picChg chg="add mod">
          <ac:chgData name="Hillard, Laura" userId="fb6b425a-e8d9-473f-bcd9-e45358f5bb1d" providerId="ADAL" clId="{ED5B23FA-AB2C-498E-AB64-7CAD937BFAF4}" dt="2023-08-17T17:19:02.685" v="15" actId="1076"/>
          <ac:picMkLst>
            <pc:docMk/>
            <pc:sldMk cId="890227972" sldId="2147309685"/>
            <ac:picMk id="6" creationId="{860C75F3-6F3E-41DF-2B72-4E4C35064E00}"/>
          </ac:picMkLst>
        </pc:picChg>
        <pc:picChg chg="add mod">
          <ac:chgData name="Hillard, Laura" userId="fb6b425a-e8d9-473f-bcd9-e45358f5bb1d" providerId="ADAL" clId="{ED5B23FA-AB2C-498E-AB64-7CAD937BFAF4}" dt="2023-08-18T19:46:32.857" v="3300"/>
          <ac:picMkLst>
            <pc:docMk/>
            <pc:sldMk cId="890227972" sldId="2147309685"/>
            <ac:picMk id="9" creationId="{8A570365-F18F-FB60-C7CB-FE896EBACEB4}"/>
          </ac:picMkLst>
        </pc:picChg>
      </pc:sldChg>
      <pc:sldChg chg="addSp modSp mod">
        <pc:chgData name="Hillard, Laura" userId="fb6b425a-e8d9-473f-bcd9-e45358f5bb1d" providerId="ADAL" clId="{ED5B23FA-AB2C-498E-AB64-7CAD937BFAF4}" dt="2023-08-18T19:46:35.207" v="3301"/>
        <pc:sldMkLst>
          <pc:docMk/>
          <pc:sldMk cId="2360244395" sldId="2147309686"/>
        </pc:sldMkLst>
        <pc:spChg chg="mod">
          <ac:chgData name="Hillard, Laura" userId="fb6b425a-e8d9-473f-bcd9-e45358f5bb1d" providerId="ADAL" clId="{ED5B23FA-AB2C-498E-AB64-7CAD937BFAF4}" dt="2023-08-18T15:59:37.322" v="2478"/>
          <ac:spMkLst>
            <pc:docMk/>
            <pc:sldMk cId="2360244395" sldId="2147309686"/>
            <ac:spMk id="3" creationId="{1ABEB552-FC05-4726-8630-22111FC75C23}"/>
          </ac:spMkLst>
        </pc:spChg>
        <pc:spChg chg="mod">
          <ac:chgData name="Hillard, Laura" userId="fb6b425a-e8d9-473f-bcd9-e45358f5bb1d" providerId="ADAL" clId="{ED5B23FA-AB2C-498E-AB64-7CAD937BFAF4}" dt="2023-08-17T20:13:29.277" v="216" actId="20577"/>
          <ac:spMkLst>
            <pc:docMk/>
            <pc:sldMk cId="2360244395" sldId="2147309686"/>
            <ac:spMk id="6" creationId="{98ED5FFE-B207-4851-94A8-794F6A7DE5F0}"/>
          </ac:spMkLst>
        </pc:spChg>
        <pc:spChg chg="mod">
          <ac:chgData name="Hillard, Laura" userId="fb6b425a-e8d9-473f-bcd9-e45358f5bb1d" providerId="ADAL" clId="{ED5B23FA-AB2C-498E-AB64-7CAD937BFAF4}" dt="2023-08-17T20:12:49.174" v="185" actId="20577"/>
          <ac:spMkLst>
            <pc:docMk/>
            <pc:sldMk cId="2360244395" sldId="2147309686"/>
            <ac:spMk id="14" creationId="{58D42F89-0EC7-42FE-B916-BB0D9FAB7DD4}"/>
          </ac:spMkLst>
        </pc:spChg>
        <pc:spChg chg="mod">
          <ac:chgData name="Hillard, Laura" userId="fb6b425a-e8d9-473f-bcd9-e45358f5bb1d" providerId="ADAL" clId="{ED5B23FA-AB2C-498E-AB64-7CAD937BFAF4}" dt="2023-08-17T20:12:40.438" v="152" actId="20577"/>
          <ac:spMkLst>
            <pc:docMk/>
            <pc:sldMk cId="2360244395" sldId="2147309686"/>
            <ac:spMk id="18" creationId="{DCD44ED1-D3E9-4BA7-9596-E1B01A5633E4}"/>
          </ac:spMkLst>
        </pc:spChg>
        <pc:spChg chg="mod">
          <ac:chgData name="Hillard, Laura" userId="fb6b425a-e8d9-473f-bcd9-e45358f5bb1d" providerId="ADAL" clId="{ED5B23FA-AB2C-498E-AB64-7CAD937BFAF4}" dt="2023-08-17T20:12:35.117" v="149" actId="20577"/>
          <ac:spMkLst>
            <pc:docMk/>
            <pc:sldMk cId="2360244395" sldId="2147309686"/>
            <ac:spMk id="22" creationId="{8E87DE34-01F2-4ECD-91AE-EE49BB31015D}"/>
          </ac:spMkLst>
        </pc:spChg>
        <pc:picChg chg="add mod">
          <ac:chgData name="Hillard, Laura" userId="fb6b425a-e8d9-473f-bcd9-e45358f5bb1d" providerId="ADAL" clId="{ED5B23FA-AB2C-498E-AB64-7CAD937BFAF4}" dt="2023-08-18T19:46:35.207" v="3301"/>
          <ac:picMkLst>
            <pc:docMk/>
            <pc:sldMk cId="2360244395" sldId="2147309686"/>
            <ac:picMk id="25" creationId="{40437698-54F8-95F2-3AE3-28E6A8CDFCE8}"/>
          </ac:picMkLst>
        </pc:picChg>
      </pc:sldChg>
      <pc:sldChg chg="del">
        <pc:chgData name="Hillard, Laura" userId="fb6b425a-e8d9-473f-bcd9-e45358f5bb1d" providerId="ADAL" clId="{ED5B23FA-AB2C-498E-AB64-7CAD937BFAF4}" dt="2023-08-17T20:13:20.161" v="191" actId="47"/>
        <pc:sldMkLst>
          <pc:docMk/>
          <pc:sldMk cId="284601781" sldId="2147309687"/>
        </pc:sldMkLst>
      </pc:sldChg>
      <pc:sldChg chg="del">
        <pc:chgData name="Hillard, Laura" userId="fb6b425a-e8d9-473f-bcd9-e45358f5bb1d" providerId="ADAL" clId="{ED5B23FA-AB2C-498E-AB64-7CAD937BFAF4}" dt="2023-08-18T19:41:16.952" v="3280" actId="47"/>
        <pc:sldMkLst>
          <pc:docMk/>
          <pc:sldMk cId="1781900259" sldId="2147309688"/>
        </pc:sldMkLst>
      </pc:sldChg>
      <pc:sldChg chg="del">
        <pc:chgData name="Hillard, Laura" userId="fb6b425a-e8d9-473f-bcd9-e45358f5bb1d" providerId="ADAL" clId="{ED5B23FA-AB2C-498E-AB64-7CAD937BFAF4}" dt="2023-08-18T19:43:39.233" v="3287" actId="47"/>
        <pc:sldMkLst>
          <pc:docMk/>
          <pc:sldMk cId="1925753739" sldId="2147309689"/>
        </pc:sldMkLst>
      </pc:sldChg>
      <pc:sldChg chg="del">
        <pc:chgData name="Hillard, Laura" userId="fb6b425a-e8d9-473f-bcd9-e45358f5bb1d" providerId="ADAL" clId="{ED5B23FA-AB2C-498E-AB64-7CAD937BFAF4}" dt="2023-08-18T03:16:32.249" v="2451" actId="47"/>
        <pc:sldMkLst>
          <pc:docMk/>
          <pc:sldMk cId="2977305169" sldId="2147309692"/>
        </pc:sldMkLst>
      </pc:sldChg>
      <pc:sldChg chg="del">
        <pc:chgData name="Hillard, Laura" userId="fb6b425a-e8d9-473f-bcd9-e45358f5bb1d" providerId="ADAL" clId="{ED5B23FA-AB2C-498E-AB64-7CAD937BFAF4}" dt="2023-08-17T20:38:56.908" v="523" actId="47"/>
        <pc:sldMkLst>
          <pc:docMk/>
          <pc:sldMk cId="3849136308" sldId="2147309694"/>
        </pc:sldMkLst>
      </pc:sldChg>
      <pc:sldChg chg="del">
        <pc:chgData name="Hillard, Laura" userId="fb6b425a-e8d9-473f-bcd9-e45358f5bb1d" providerId="ADAL" clId="{ED5B23FA-AB2C-498E-AB64-7CAD937BFAF4}" dt="2023-08-18T19:41:00.644" v="3275" actId="47"/>
        <pc:sldMkLst>
          <pc:docMk/>
          <pc:sldMk cId="2341298000" sldId="2147309696"/>
        </pc:sldMkLst>
      </pc:sldChg>
      <pc:sldChg chg="del">
        <pc:chgData name="Hillard, Laura" userId="fb6b425a-e8d9-473f-bcd9-e45358f5bb1d" providerId="ADAL" clId="{ED5B23FA-AB2C-498E-AB64-7CAD937BFAF4}" dt="2023-08-17T20:35:09.981" v="385" actId="47"/>
        <pc:sldMkLst>
          <pc:docMk/>
          <pc:sldMk cId="260607588" sldId="2147309702"/>
        </pc:sldMkLst>
      </pc:sldChg>
      <pc:sldChg chg="delSp modSp ord modAnim">
        <pc:chgData name="Hillard, Laura" userId="fb6b425a-e8d9-473f-bcd9-e45358f5bb1d" providerId="ADAL" clId="{ED5B23FA-AB2C-498E-AB64-7CAD937BFAF4}" dt="2023-08-18T17:57:02.964" v="2997"/>
        <pc:sldMkLst>
          <pc:docMk/>
          <pc:sldMk cId="938788667" sldId="2147309703"/>
        </pc:sldMkLst>
        <pc:spChg chg="mod topLvl">
          <ac:chgData name="Hillard, Laura" userId="fb6b425a-e8d9-473f-bcd9-e45358f5bb1d" providerId="ADAL" clId="{ED5B23FA-AB2C-498E-AB64-7CAD937BFAF4}" dt="2023-08-18T17:56:14.484" v="2993" actId="165"/>
          <ac:spMkLst>
            <pc:docMk/>
            <pc:sldMk cId="938788667" sldId="2147309703"/>
            <ac:spMk id="81" creationId="{B1119ADB-B9B7-4F0F-992F-24124526F3FC}"/>
          </ac:spMkLst>
        </pc:spChg>
        <pc:spChg chg="mod">
          <ac:chgData name="Hillard, Laura" userId="fb6b425a-e8d9-473f-bcd9-e45358f5bb1d" providerId="ADAL" clId="{ED5B23FA-AB2C-498E-AB64-7CAD937BFAF4}" dt="2023-08-18T17:56:14.484" v="2993" actId="165"/>
          <ac:spMkLst>
            <pc:docMk/>
            <pc:sldMk cId="938788667" sldId="2147309703"/>
            <ac:spMk id="83" creationId="{0DFD236C-5F17-410E-BFE7-993834A060A4}"/>
          </ac:spMkLst>
        </pc:spChg>
        <pc:spChg chg="mod">
          <ac:chgData name="Hillard, Laura" userId="fb6b425a-e8d9-473f-bcd9-e45358f5bb1d" providerId="ADAL" clId="{ED5B23FA-AB2C-498E-AB64-7CAD937BFAF4}" dt="2023-08-18T17:56:14.484" v="2993" actId="165"/>
          <ac:spMkLst>
            <pc:docMk/>
            <pc:sldMk cId="938788667" sldId="2147309703"/>
            <ac:spMk id="84" creationId="{4F325AED-D67E-4CD8-B00F-3F3BEEB36301}"/>
          </ac:spMkLst>
        </pc:spChg>
        <pc:spChg chg="mod">
          <ac:chgData name="Hillard, Laura" userId="fb6b425a-e8d9-473f-bcd9-e45358f5bb1d" providerId="ADAL" clId="{ED5B23FA-AB2C-498E-AB64-7CAD937BFAF4}" dt="2023-08-18T17:56:14.484" v="2993" actId="165"/>
          <ac:spMkLst>
            <pc:docMk/>
            <pc:sldMk cId="938788667" sldId="2147309703"/>
            <ac:spMk id="89" creationId="{14BD2FDC-E036-41A9-843F-2B6145CC1B86}"/>
          </ac:spMkLst>
        </pc:spChg>
        <pc:spChg chg="mod">
          <ac:chgData name="Hillard, Laura" userId="fb6b425a-e8d9-473f-bcd9-e45358f5bb1d" providerId="ADAL" clId="{ED5B23FA-AB2C-498E-AB64-7CAD937BFAF4}" dt="2023-08-18T17:56:14.484" v="2993" actId="165"/>
          <ac:spMkLst>
            <pc:docMk/>
            <pc:sldMk cId="938788667" sldId="2147309703"/>
            <ac:spMk id="90" creationId="{B85C8160-C705-454B-9DF2-E3C0E1F48EEC}"/>
          </ac:spMkLst>
        </pc:spChg>
        <pc:spChg chg="mod">
          <ac:chgData name="Hillard, Laura" userId="fb6b425a-e8d9-473f-bcd9-e45358f5bb1d" providerId="ADAL" clId="{ED5B23FA-AB2C-498E-AB64-7CAD937BFAF4}" dt="2023-08-18T17:56:14.484" v="2993" actId="165"/>
          <ac:spMkLst>
            <pc:docMk/>
            <pc:sldMk cId="938788667" sldId="2147309703"/>
            <ac:spMk id="91" creationId="{DAC6FB1B-1B9A-43A1-8BA0-BCE31C33DA98}"/>
          </ac:spMkLst>
        </pc:spChg>
        <pc:spChg chg="mod">
          <ac:chgData name="Hillard, Laura" userId="fb6b425a-e8d9-473f-bcd9-e45358f5bb1d" providerId="ADAL" clId="{ED5B23FA-AB2C-498E-AB64-7CAD937BFAF4}" dt="2023-08-18T17:56:14.484" v="2993" actId="165"/>
          <ac:spMkLst>
            <pc:docMk/>
            <pc:sldMk cId="938788667" sldId="2147309703"/>
            <ac:spMk id="92" creationId="{A3D04E4E-9404-4DDE-8FD7-A0E0160A8D20}"/>
          </ac:spMkLst>
        </pc:spChg>
        <pc:spChg chg="mod topLvl">
          <ac:chgData name="Hillard, Laura" userId="fb6b425a-e8d9-473f-bcd9-e45358f5bb1d" providerId="ADAL" clId="{ED5B23FA-AB2C-498E-AB64-7CAD937BFAF4}" dt="2023-08-18T17:56:14.484" v="2993" actId="165"/>
          <ac:spMkLst>
            <pc:docMk/>
            <pc:sldMk cId="938788667" sldId="2147309703"/>
            <ac:spMk id="93" creationId="{FEEDC127-BD81-47A5-BB57-0BBF461B45BF}"/>
          </ac:spMkLst>
        </pc:spChg>
        <pc:spChg chg="mod">
          <ac:chgData name="Hillard, Laura" userId="fb6b425a-e8d9-473f-bcd9-e45358f5bb1d" providerId="ADAL" clId="{ED5B23FA-AB2C-498E-AB64-7CAD937BFAF4}" dt="2023-08-18T17:56:14.484" v="2993" actId="165"/>
          <ac:spMkLst>
            <pc:docMk/>
            <pc:sldMk cId="938788667" sldId="2147309703"/>
            <ac:spMk id="95" creationId="{1089D1EB-D7E0-471A-9E5C-216C81C2F929}"/>
          </ac:spMkLst>
        </pc:spChg>
        <pc:spChg chg="mod">
          <ac:chgData name="Hillard, Laura" userId="fb6b425a-e8d9-473f-bcd9-e45358f5bb1d" providerId="ADAL" clId="{ED5B23FA-AB2C-498E-AB64-7CAD937BFAF4}" dt="2023-08-18T17:56:14.484" v="2993" actId="165"/>
          <ac:spMkLst>
            <pc:docMk/>
            <pc:sldMk cId="938788667" sldId="2147309703"/>
            <ac:spMk id="96" creationId="{0D4B72C2-C581-40F6-9687-546902271A29}"/>
          </ac:spMkLst>
        </pc:spChg>
        <pc:spChg chg="mod">
          <ac:chgData name="Hillard, Laura" userId="fb6b425a-e8d9-473f-bcd9-e45358f5bb1d" providerId="ADAL" clId="{ED5B23FA-AB2C-498E-AB64-7CAD937BFAF4}" dt="2023-08-18T17:56:14.484" v="2993" actId="165"/>
          <ac:spMkLst>
            <pc:docMk/>
            <pc:sldMk cId="938788667" sldId="2147309703"/>
            <ac:spMk id="101" creationId="{CAA617A9-3E31-4890-94DF-28BE1ED68A3E}"/>
          </ac:spMkLst>
        </pc:spChg>
        <pc:spChg chg="mod">
          <ac:chgData name="Hillard, Laura" userId="fb6b425a-e8d9-473f-bcd9-e45358f5bb1d" providerId="ADAL" clId="{ED5B23FA-AB2C-498E-AB64-7CAD937BFAF4}" dt="2023-08-18T17:56:14.484" v="2993" actId="165"/>
          <ac:spMkLst>
            <pc:docMk/>
            <pc:sldMk cId="938788667" sldId="2147309703"/>
            <ac:spMk id="102" creationId="{B5FD75AF-F439-472A-9B04-C848BBF916B7}"/>
          </ac:spMkLst>
        </pc:spChg>
        <pc:spChg chg="mod">
          <ac:chgData name="Hillard, Laura" userId="fb6b425a-e8d9-473f-bcd9-e45358f5bb1d" providerId="ADAL" clId="{ED5B23FA-AB2C-498E-AB64-7CAD937BFAF4}" dt="2023-08-18T17:56:14.484" v="2993" actId="165"/>
          <ac:spMkLst>
            <pc:docMk/>
            <pc:sldMk cId="938788667" sldId="2147309703"/>
            <ac:spMk id="103" creationId="{AF9AA731-69FE-4565-AA1F-9D9836AE54C6}"/>
          </ac:spMkLst>
        </pc:spChg>
        <pc:spChg chg="mod">
          <ac:chgData name="Hillard, Laura" userId="fb6b425a-e8d9-473f-bcd9-e45358f5bb1d" providerId="ADAL" clId="{ED5B23FA-AB2C-498E-AB64-7CAD937BFAF4}" dt="2023-08-18T17:56:14.484" v="2993" actId="165"/>
          <ac:spMkLst>
            <pc:docMk/>
            <pc:sldMk cId="938788667" sldId="2147309703"/>
            <ac:spMk id="104" creationId="{7CC32754-8C48-467B-A386-E9716935B7F1}"/>
          </ac:spMkLst>
        </pc:spChg>
        <pc:spChg chg="mod">
          <ac:chgData name="Hillard, Laura" userId="fb6b425a-e8d9-473f-bcd9-e45358f5bb1d" providerId="ADAL" clId="{ED5B23FA-AB2C-498E-AB64-7CAD937BFAF4}" dt="2023-08-18T17:56:14.484" v="2993" actId="165"/>
          <ac:spMkLst>
            <pc:docMk/>
            <pc:sldMk cId="938788667" sldId="2147309703"/>
            <ac:spMk id="106" creationId="{8A1A3CF3-E15C-436E-AF98-247456B2606A}"/>
          </ac:spMkLst>
        </pc:spChg>
        <pc:spChg chg="mod">
          <ac:chgData name="Hillard, Laura" userId="fb6b425a-e8d9-473f-bcd9-e45358f5bb1d" providerId="ADAL" clId="{ED5B23FA-AB2C-498E-AB64-7CAD937BFAF4}" dt="2023-08-18T17:56:14.484" v="2993" actId="165"/>
          <ac:spMkLst>
            <pc:docMk/>
            <pc:sldMk cId="938788667" sldId="2147309703"/>
            <ac:spMk id="107" creationId="{37CB974B-B4F9-4C27-A971-BC38DBA11CD2}"/>
          </ac:spMkLst>
        </pc:spChg>
        <pc:spChg chg="mod topLvl">
          <ac:chgData name="Hillard, Laura" userId="fb6b425a-e8d9-473f-bcd9-e45358f5bb1d" providerId="ADAL" clId="{ED5B23FA-AB2C-498E-AB64-7CAD937BFAF4}" dt="2023-08-18T17:56:14.484" v="2993" actId="165"/>
          <ac:spMkLst>
            <pc:docMk/>
            <pc:sldMk cId="938788667" sldId="2147309703"/>
            <ac:spMk id="111" creationId="{EE7CAF70-BC5B-4D5D-817D-74C4E1A10420}"/>
          </ac:spMkLst>
        </pc:spChg>
        <pc:spChg chg="mod">
          <ac:chgData name="Hillard, Laura" userId="fb6b425a-e8d9-473f-bcd9-e45358f5bb1d" providerId="ADAL" clId="{ED5B23FA-AB2C-498E-AB64-7CAD937BFAF4}" dt="2023-08-18T17:56:14.484" v="2993" actId="165"/>
          <ac:spMkLst>
            <pc:docMk/>
            <pc:sldMk cId="938788667" sldId="2147309703"/>
            <ac:spMk id="114" creationId="{AE20B904-9747-415C-85FD-5BD0BF1BBB96}"/>
          </ac:spMkLst>
        </pc:spChg>
        <pc:spChg chg="mod">
          <ac:chgData name="Hillard, Laura" userId="fb6b425a-e8d9-473f-bcd9-e45358f5bb1d" providerId="ADAL" clId="{ED5B23FA-AB2C-498E-AB64-7CAD937BFAF4}" dt="2023-08-18T17:56:14.484" v="2993" actId="165"/>
          <ac:spMkLst>
            <pc:docMk/>
            <pc:sldMk cId="938788667" sldId="2147309703"/>
            <ac:spMk id="115" creationId="{6C725838-4773-494D-925D-803D606C0B0B}"/>
          </ac:spMkLst>
        </pc:spChg>
        <pc:spChg chg="mod">
          <ac:chgData name="Hillard, Laura" userId="fb6b425a-e8d9-473f-bcd9-e45358f5bb1d" providerId="ADAL" clId="{ED5B23FA-AB2C-498E-AB64-7CAD937BFAF4}" dt="2023-08-18T17:56:14.484" v="2993" actId="165"/>
          <ac:spMkLst>
            <pc:docMk/>
            <pc:sldMk cId="938788667" sldId="2147309703"/>
            <ac:spMk id="117" creationId="{69E4B6E8-B437-4303-9CB4-326B842D8EC9}"/>
          </ac:spMkLst>
        </pc:spChg>
        <pc:spChg chg="mod">
          <ac:chgData name="Hillard, Laura" userId="fb6b425a-e8d9-473f-bcd9-e45358f5bb1d" providerId="ADAL" clId="{ED5B23FA-AB2C-498E-AB64-7CAD937BFAF4}" dt="2023-08-18T17:56:14.484" v="2993" actId="165"/>
          <ac:spMkLst>
            <pc:docMk/>
            <pc:sldMk cId="938788667" sldId="2147309703"/>
            <ac:spMk id="118" creationId="{5434E82C-336E-4534-B1E2-BE3A4CFCBFAA}"/>
          </ac:spMkLst>
        </pc:spChg>
        <pc:spChg chg="mod topLvl">
          <ac:chgData name="Hillard, Laura" userId="fb6b425a-e8d9-473f-bcd9-e45358f5bb1d" providerId="ADAL" clId="{ED5B23FA-AB2C-498E-AB64-7CAD937BFAF4}" dt="2023-08-18T17:56:14.484" v="2993" actId="165"/>
          <ac:spMkLst>
            <pc:docMk/>
            <pc:sldMk cId="938788667" sldId="2147309703"/>
            <ac:spMk id="119" creationId="{87A4196F-0CE7-4742-B14B-4183AB306615}"/>
          </ac:spMkLst>
        </pc:spChg>
        <pc:spChg chg="mod">
          <ac:chgData name="Hillard, Laura" userId="fb6b425a-e8d9-473f-bcd9-e45358f5bb1d" providerId="ADAL" clId="{ED5B23FA-AB2C-498E-AB64-7CAD937BFAF4}" dt="2023-08-18T17:56:14.484" v="2993" actId="165"/>
          <ac:spMkLst>
            <pc:docMk/>
            <pc:sldMk cId="938788667" sldId="2147309703"/>
            <ac:spMk id="121" creationId="{9CA15938-5F22-438A-932D-934083767667}"/>
          </ac:spMkLst>
        </pc:spChg>
        <pc:spChg chg="mod">
          <ac:chgData name="Hillard, Laura" userId="fb6b425a-e8d9-473f-bcd9-e45358f5bb1d" providerId="ADAL" clId="{ED5B23FA-AB2C-498E-AB64-7CAD937BFAF4}" dt="2023-08-18T17:56:14.484" v="2993" actId="165"/>
          <ac:spMkLst>
            <pc:docMk/>
            <pc:sldMk cId="938788667" sldId="2147309703"/>
            <ac:spMk id="122" creationId="{1C070011-9125-4E5F-95E3-F01FACBB530E}"/>
          </ac:spMkLst>
        </pc:spChg>
        <pc:spChg chg="mod">
          <ac:chgData name="Hillard, Laura" userId="fb6b425a-e8d9-473f-bcd9-e45358f5bb1d" providerId="ADAL" clId="{ED5B23FA-AB2C-498E-AB64-7CAD937BFAF4}" dt="2023-08-18T17:56:14.484" v="2993" actId="165"/>
          <ac:spMkLst>
            <pc:docMk/>
            <pc:sldMk cId="938788667" sldId="2147309703"/>
            <ac:spMk id="127" creationId="{E565458E-DF9D-4FAC-816D-940ED3C37FDF}"/>
          </ac:spMkLst>
        </pc:spChg>
        <pc:spChg chg="mod">
          <ac:chgData name="Hillard, Laura" userId="fb6b425a-e8d9-473f-bcd9-e45358f5bb1d" providerId="ADAL" clId="{ED5B23FA-AB2C-498E-AB64-7CAD937BFAF4}" dt="2023-08-18T17:56:14.484" v="2993" actId="165"/>
          <ac:spMkLst>
            <pc:docMk/>
            <pc:sldMk cId="938788667" sldId="2147309703"/>
            <ac:spMk id="128" creationId="{A8264E31-E963-4B9A-BC8D-2B2D008EC8C3}"/>
          </ac:spMkLst>
        </pc:spChg>
        <pc:spChg chg="mod">
          <ac:chgData name="Hillard, Laura" userId="fb6b425a-e8d9-473f-bcd9-e45358f5bb1d" providerId="ADAL" clId="{ED5B23FA-AB2C-498E-AB64-7CAD937BFAF4}" dt="2023-08-18T17:56:14.484" v="2993" actId="165"/>
          <ac:spMkLst>
            <pc:docMk/>
            <pc:sldMk cId="938788667" sldId="2147309703"/>
            <ac:spMk id="129" creationId="{184B7218-0084-414E-80F5-35412D36384E}"/>
          </ac:spMkLst>
        </pc:spChg>
        <pc:spChg chg="mod">
          <ac:chgData name="Hillard, Laura" userId="fb6b425a-e8d9-473f-bcd9-e45358f5bb1d" providerId="ADAL" clId="{ED5B23FA-AB2C-498E-AB64-7CAD937BFAF4}" dt="2023-08-18T17:56:14.484" v="2993" actId="165"/>
          <ac:spMkLst>
            <pc:docMk/>
            <pc:sldMk cId="938788667" sldId="2147309703"/>
            <ac:spMk id="130" creationId="{C710EB81-3FD4-457A-B681-72C4348C92EA}"/>
          </ac:spMkLst>
        </pc:spChg>
        <pc:spChg chg="mod topLvl">
          <ac:chgData name="Hillard, Laura" userId="fb6b425a-e8d9-473f-bcd9-e45358f5bb1d" providerId="ADAL" clId="{ED5B23FA-AB2C-498E-AB64-7CAD937BFAF4}" dt="2023-08-18T17:56:14.484" v="2993" actId="165"/>
          <ac:spMkLst>
            <pc:docMk/>
            <pc:sldMk cId="938788667" sldId="2147309703"/>
            <ac:spMk id="131" creationId="{48FF76BF-A81A-4311-920F-2A747ECD17FE}"/>
          </ac:spMkLst>
        </pc:spChg>
        <pc:spChg chg="mod">
          <ac:chgData name="Hillard, Laura" userId="fb6b425a-e8d9-473f-bcd9-e45358f5bb1d" providerId="ADAL" clId="{ED5B23FA-AB2C-498E-AB64-7CAD937BFAF4}" dt="2023-08-18T17:56:14.484" v="2993" actId="165"/>
          <ac:spMkLst>
            <pc:docMk/>
            <pc:sldMk cId="938788667" sldId="2147309703"/>
            <ac:spMk id="133" creationId="{7B225B10-ED3D-432D-B6AD-229C473B05DC}"/>
          </ac:spMkLst>
        </pc:spChg>
        <pc:spChg chg="mod">
          <ac:chgData name="Hillard, Laura" userId="fb6b425a-e8d9-473f-bcd9-e45358f5bb1d" providerId="ADAL" clId="{ED5B23FA-AB2C-498E-AB64-7CAD937BFAF4}" dt="2023-08-18T17:56:14.484" v="2993" actId="165"/>
          <ac:spMkLst>
            <pc:docMk/>
            <pc:sldMk cId="938788667" sldId="2147309703"/>
            <ac:spMk id="134" creationId="{E4CE71A2-0971-4F97-B3A7-C65D9282C037}"/>
          </ac:spMkLst>
        </pc:spChg>
        <pc:spChg chg="mod">
          <ac:chgData name="Hillard, Laura" userId="fb6b425a-e8d9-473f-bcd9-e45358f5bb1d" providerId="ADAL" clId="{ED5B23FA-AB2C-498E-AB64-7CAD937BFAF4}" dt="2023-08-18T17:56:14.484" v="2993" actId="165"/>
          <ac:spMkLst>
            <pc:docMk/>
            <pc:sldMk cId="938788667" sldId="2147309703"/>
            <ac:spMk id="139" creationId="{E9AD802D-C3E4-4A3F-BC35-8D99523B19D2}"/>
          </ac:spMkLst>
        </pc:spChg>
        <pc:spChg chg="mod">
          <ac:chgData name="Hillard, Laura" userId="fb6b425a-e8d9-473f-bcd9-e45358f5bb1d" providerId="ADAL" clId="{ED5B23FA-AB2C-498E-AB64-7CAD937BFAF4}" dt="2023-08-18T17:56:14.484" v="2993" actId="165"/>
          <ac:spMkLst>
            <pc:docMk/>
            <pc:sldMk cId="938788667" sldId="2147309703"/>
            <ac:spMk id="140" creationId="{3285A14D-5220-4D51-83EF-2D466CE86D22}"/>
          </ac:spMkLst>
        </pc:spChg>
        <pc:spChg chg="mod">
          <ac:chgData name="Hillard, Laura" userId="fb6b425a-e8d9-473f-bcd9-e45358f5bb1d" providerId="ADAL" clId="{ED5B23FA-AB2C-498E-AB64-7CAD937BFAF4}" dt="2023-08-18T17:56:14.484" v="2993" actId="165"/>
          <ac:spMkLst>
            <pc:docMk/>
            <pc:sldMk cId="938788667" sldId="2147309703"/>
            <ac:spMk id="141" creationId="{10850414-838D-4B35-A759-0A2CBB4EBE1C}"/>
          </ac:spMkLst>
        </pc:spChg>
        <pc:spChg chg="mod">
          <ac:chgData name="Hillard, Laura" userId="fb6b425a-e8d9-473f-bcd9-e45358f5bb1d" providerId="ADAL" clId="{ED5B23FA-AB2C-498E-AB64-7CAD937BFAF4}" dt="2023-08-18T17:56:14.484" v="2993" actId="165"/>
          <ac:spMkLst>
            <pc:docMk/>
            <pc:sldMk cId="938788667" sldId="2147309703"/>
            <ac:spMk id="142" creationId="{978D22AC-1DE1-48F9-8AAD-6925D0D8CE97}"/>
          </ac:spMkLst>
        </pc:spChg>
        <pc:grpChg chg="del">
          <ac:chgData name="Hillard, Laura" userId="fb6b425a-e8d9-473f-bcd9-e45358f5bb1d" providerId="ADAL" clId="{ED5B23FA-AB2C-498E-AB64-7CAD937BFAF4}" dt="2023-08-18T17:56:14.484" v="2993" actId="165"/>
          <ac:grpSpMkLst>
            <pc:docMk/>
            <pc:sldMk cId="938788667" sldId="2147309703"/>
            <ac:grpSpMk id="2" creationId="{F846109A-2D11-4F4C-A627-98D78AC53B4B}"/>
          </ac:grpSpMkLst>
        </pc:grpChg>
        <pc:grpChg chg="mod topLvl">
          <ac:chgData name="Hillard, Laura" userId="fb6b425a-e8d9-473f-bcd9-e45358f5bb1d" providerId="ADAL" clId="{ED5B23FA-AB2C-498E-AB64-7CAD937BFAF4}" dt="2023-08-18T17:56:14.484" v="2993" actId="165"/>
          <ac:grpSpMkLst>
            <pc:docMk/>
            <pc:sldMk cId="938788667" sldId="2147309703"/>
            <ac:grpSpMk id="82" creationId="{040DA80C-8437-450A-9628-6B0AB46D0DAE}"/>
          </ac:grpSpMkLst>
        </pc:grpChg>
        <pc:grpChg chg="mod topLvl">
          <ac:chgData name="Hillard, Laura" userId="fb6b425a-e8d9-473f-bcd9-e45358f5bb1d" providerId="ADAL" clId="{ED5B23FA-AB2C-498E-AB64-7CAD937BFAF4}" dt="2023-08-18T17:56:14.484" v="2993" actId="165"/>
          <ac:grpSpMkLst>
            <pc:docMk/>
            <pc:sldMk cId="938788667" sldId="2147309703"/>
            <ac:grpSpMk id="85" creationId="{381E1A94-5480-4A4D-B9A9-2597F47ECDFF}"/>
          </ac:grpSpMkLst>
        </pc:grpChg>
        <pc:grpChg chg="mod">
          <ac:chgData name="Hillard, Laura" userId="fb6b425a-e8d9-473f-bcd9-e45358f5bb1d" providerId="ADAL" clId="{ED5B23FA-AB2C-498E-AB64-7CAD937BFAF4}" dt="2023-08-18T17:56:14.484" v="2993" actId="165"/>
          <ac:grpSpMkLst>
            <pc:docMk/>
            <pc:sldMk cId="938788667" sldId="2147309703"/>
            <ac:grpSpMk id="86" creationId="{D229CDA8-6515-4D0C-A928-5516F96C830A}"/>
          </ac:grpSpMkLst>
        </pc:grpChg>
        <pc:grpChg chg="mod">
          <ac:chgData name="Hillard, Laura" userId="fb6b425a-e8d9-473f-bcd9-e45358f5bb1d" providerId="ADAL" clId="{ED5B23FA-AB2C-498E-AB64-7CAD937BFAF4}" dt="2023-08-18T17:56:14.484" v="2993" actId="165"/>
          <ac:grpSpMkLst>
            <pc:docMk/>
            <pc:sldMk cId="938788667" sldId="2147309703"/>
            <ac:grpSpMk id="88" creationId="{0CEE6F15-136A-4088-A9F5-40E961E23A80}"/>
          </ac:grpSpMkLst>
        </pc:grpChg>
        <pc:grpChg chg="mod topLvl">
          <ac:chgData name="Hillard, Laura" userId="fb6b425a-e8d9-473f-bcd9-e45358f5bb1d" providerId="ADAL" clId="{ED5B23FA-AB2C-498E-AB64-7CAD937BFAF4}" dt="2023-08-18T17:56:14.484" v="2993" actId="165"/>
          <ac:grpSpMkLst>
            <pc:docMk/>
            <pc:sldMk cId="938788667" sldId="2147309703"/>
            <ac:grpSpMk id="94" creationId="{CF94F59C-DB85-4F15-BD42-65C2E365ADAC}"/>
          </ac:grpSpMkLst>
        </pc:grpChg>
        <pc:grpChg chg="mod topLvl">
          <ac:chgData name="Hillard, Laura" userId="fb6b425a-e8d9-473f-bcd9-e45358f5bb1d" providerId="ADAL" clId="{ED5B23FA-AB2C-498E-AB64-7CAD937BFAF4}" dt="2023-08-18T17:56:14.484" v="2993" actId="165"/>
          <ac:grpSpMkLst>
            <pc:docMk/>
            <pc:sldMk cId="938788667" sldId="2147309703"/>
            <ac:grpSpMk id="97" creationId="{1714E1B3-4999-47F0-8879-969A9C9FE9A8}"/>
          </ac:grpSpMkLst>
        </pc:grpChg>
        <pc:grpChg chg="mod">
          <ac:chgData name="Hillard, Laura" userId="fb6b425a-e8d9-473f-bcd9-e45358f5bb1d" providerId="ADAL" clId="{ED5B23FA-AB2C-498E-AB64-7CAD937BFAF4}" dt="2023-08-18T17:56:14.484" v="2993" actId="165"/>
          <ac:grpSpMkLst>
            <pc:docMk/>
            <pc:sldMk cId="938788667" sldId="2147309703"/>
            <ac:grpSpMk id="98" creationId="{D13BA6CA-7A73-4765-9E57-6E0E415E6278}"/>
          </ac:grpSpMkLst>
        </pc:grpChg>
        <pc:grpChg chg="mod">
          <ac:chgData name="Hillard, Laura" userId="fb6b425a-e8d9-473f-bcd9-e45358f5bb1d" providerId="ADAL" clId="{ED5B23FA-AB2C-498E-AB64-7CAD937BFAF4}" dt="2023-08-18T17:56:14.484" v="2993" actId="165"/>
          <ac:grpSpMkLst>
            <pc:docMk/>
            <pc:sldMk cId="938788667" sldId="2147309703"/>
            <ac:grpSpMk id="100" creationId="{51E6446D-80D8-4855-A246-A3CB2834EEA6}"/>
          </ac:grpSpMkLst>
        </pc:grpChg>
        <pc:grpChg chg="mod topLvl">
          <ac:chgData name="Hillard, Laura" userId="fb6b425a-e8d9-473f-bcd9-e45358f5bb1d" providerId="ADAL" clId="{ED5B23FA-AB2C-498E-AB64-7CAD937BFAF4}" dt="2023-08-18T17:56:14.484" v="2993" actId="165"/>
          <ac:grpSpMkLst>
            <pc:docMk/>
            <pc:sldMk cId="938788667" sldId="2147309703"/>
            <ac:grpSpMk id="105" creationId="{CF285485-92CD-4812-A183-1A3906BE646B}"/>
          </ac:grpSpMkLst>
        </pc:grpChg>
        <pc:grpChg chg="mod topLvl">
          <ac:chgData name="Hillard, Laura" userId="fb6b425a-e8d9-473f-bcd9-e45358f5bb1d" providerId="ADAL" clId="{ED5B23FA-AB2C-498E-AB64-7CAD937BFAF4}" dt="2023-08-18T17:56:14.484" v="2993" actId="165"/>
          <ac:grpSpMkLst>
            <pc:docMk/>
            <pc:sldMk cId="938788667" sldId="2147309703"/>
            <ac:grpSpMk id="113" creationId="{58970BEB-F26A-4904-A3A5-1F2F8FDDB8F8}"/>
          </ac:grpSpMkLst>
        </pc:grpChg>
        <pc:grpChg chg="mod topLvl">
          <ac:chgData name="Hillard, Laura" userId="fb6b425a-e8d9-473f-bcd9-e45358f5bb1d" providerId="ADAL" clId="{ED5B23FA-AB2C-498E-AB64-7CAD937BFAF4}" dt="2023-08-18T17:56:14.484" v="2993" actId="165"/>
          <ac:grpSpMkLst>
            <pc:docMk/>
            <pc:sldMk cId="938788667" sldId="2147309703"/>
            <ac:grpSpMk id="116" creationId="{95218666-CDED-4BA2-8106-85425EDF5A7B}"/>
          </ac:grpSpMkLst>
        </pc:grpChg>
        <pc:grpChg chg="mod topLvl">
          <ac:chgData name="Hillard, Laura" userId="fb6b425a-e8d9-473f-bcd9-e45358f5bb1d" providerId="ADAL" clId="{ED5B23FA-AB2C-498E-AB64-7CAD937BFAF4}" dt="2023-08-18T17:56:14.484" v="2993" actId="165"/>
          <ac:grpSpMkLst>
            <pc:docMk/>
            <pc:sldMk cId="938788667" sldId="2147309703"/>
            <ac:grpSpMk id="120" creationId="{2B53C12C-71A9-4919-BAC7-2235B1548ACA}"/>
          </ac:grpSpMkLst>
        </pc:grpChg>
        <pc:grpChg chg="mod topLvl">
          <ac:chgData name="Hillard, Laura" userId="fb6b425a-e8d9-473f-bcd9-e45358f5bb1d" providerId="ADAL" clId="{ED5B23FA-AB2C-498E-AB64-7CAD937BFAF4}" dt="2023-08-18T17:56:14.484" v="2993" actId="165"/>
          <ac:grpSpMkLst>
            <pc:docMk/>
            <pc:sldMk cId="938788667" sldId="2147309703"/>
            <ac:grpSpMk id="123" creationId="{A994C299-F5B8-4CC0-B90D-D61EE8A1BCBD}"/>
          </ac:grpSpMkLst>
        </pc:grpChg>
        <pc:grpChg chg="mod">
          <ac:chgData name="Hillard, Laura" userId="fb6b425a-e8d9-473f-bcd9-e45358f5bb1d" providerId="ADAL" clId="{ED5B23FA-AB2C-498E-AB64-7CAD937BFAF4}" dt="2023-08-18T17:56:14.484" v="2993" actId="165"/>
          <ac:grpSpMkLst>
            <pc:docMk/>
            <pc:sldMk cId="938788667" sldId="2147309703"/>
            <ac:grpSpMk id="124" creationId="{4C923BF9-0598-46BF-86CE-27B6332840FD}"/>
          </ac:grpSpMkLst>
        </pc:grpChg>
        <pc:grpChg chg="mod">
          <ac:chgData name="Hillard, Laura" userId="fb6b425a-e8d9-473f-bcd9-e45358f5bb1d" providerId="ADAL" clId="{ED5B23FA-AB2C-498E-AB64-7CAD937BFAF4}" dt="2023-08-18T17:56:14.484" v="2993" actId="165"/>
          <ac:grpSpMkLst>
            <pc:docMk/>
            <pc:sldMk cId="938788667" sldId="2147309703"/>
            <ac:grpSpMk id="126" creationId="{D7E21A82-9F27-4823-AE03-EA8B6E665CD3}"/>
          </ac:grpSpMkLst>
        </pc:grpChg>
        <pc:grpChg chg="mod topLvl">
          <ac:chgData name="Hillard, Laura" userId="fb6b425a-e8d9-473f-bcd9-e45358f5bb1d" providerId="ADAL" clId="{ED5B23FA-AB2C-498E-AB64-7CAD937BFAF4}" dt="2023-08-18T17:56:14.484" v="2993" actId="165"/>
          <ac:grpSpMkLst>
            <pc:docMk/>
            <pc:sldMk cId="938788667" sldId="2147309703"/>
            <ac:grpSpMk id="132" creationId="{66BC7C7D-CB25-4967-B0E4-FD681E54B4FE}"/>
          </ac:grpSpMkLst>
        </pc:grpChg>
        <pc:grpChg chg="mod topLvl">
          <ac:chgData name="Hillard, Laura" userId="fb6b425a-e8d9-473f-bcd9-e45358f5bb1d" providerId="ADAL" clId="{ED5B23FA-AB2C-498E-AB64-7CAD937BFAF4}" dt="2023-08-18T17:56:14.484" v="2993" actId="165"/>
          <ac:grpSpMkLst>
            <pc:docMk/>
            <pc:sldMk cId="938788667" sldId="2147309703"/>
            <ac:grpSpMk id="135" creationId="{22725137-936F-4F34-9C1F-DEFEA90B7556}"/>
          </ac:grpSpMkLst>
        </pc:grpChg>
        <pc:grpChg chg="mod">
          <ac:chgData name="Hillard, Laura" userId="fb6b425a-e8d9-473f-bcd9-e45358f5bb1d" providerId="ADAL" clId="{ED5B23FA-AB2C-498E-AB64-7CAD937BFAF4}" dt="2023-08-18T17:56:14.484" v="2993" actId="165"/>
          <ac:grpSpMkLst>
            <pc:docMk/>
            <pc:sldMk cId="938788667" sldId="2147309703"/>
            <ac:grpSpMk id="136" creationId="{C20836B8-0B6A-4F54-9A52-F4C8788806D4}"/>
          </ac:grpSpMkLst>
        </pc:grpChg>
        <pc:grpChg chg="mod">
          <ac:chgData name="Hillard, Laura" userId="fb6b425a-e8d9-473f-bcd9-e45358f5bb1d" providerId="ADAL" clId="{ED5B23FA-AB2C-498E-AB64-7CAD937BFAF4}" dt="2023-08-18T17:56:14.484" v="2993" actId="165"/>
          <ac:grpSpMkLst>
            <pc:docMk/>
            <pc:sldMk cId="938788667" sldId="2147309703"/>
            <ac:grpSpMk id="138" creationId="{375F33BE-A06A-46A9-B107-2B7029FF8D08}"/>
          </ac:grpSpMkLst>
        </pc:grpChg>
        <pc:cxnChg chg="mod">
          <ac:chgData name="Hillard, Laura" userId="fb6b425a-e8d9-473f-bcd9-e45358f5bb1d" providerId="ADAL" clId="{ED5B23FA-AB2C-498E-AB64-7CAD937BFAF4}" dt="2023-08-18T17:56:14.484" v="2993" actId="165"/>
          <ac:cxnSpMkLst>
            <pc:docMk/>
            <pc:sldMk cId="938788667" sldId="2147309703"/>
            <ac:cxnSpMk id="87" creationId="{E84E3FBA-D20F-416A-AFC4-605A62B2FF30}"/>
          </ac:cxnSpMkLst>
        </pc:cxnChg>
        <pc:cxnChg chg="mod">
          <ac:chgData name="Hillard, Laura" userId="fb6b425a-e8d9-473f-bcd9-e45358f5bb1d" providerId="ADAL" clId="{ED5B23FA-AB2C-498E-AB64-7CAD937BFAF4}" dt="2023-08-18T17:56:14.484" v="2993" actId="165"/>
          <ac:cxnSpMkLst>
            <pc:docMk/>
            <pc:sldMk cId="938788667" sldId="2147309703"/>
            <ac:cxnSpMk id="99" creationId="{A56B4274-BAEA-4846-A4F9-142883D099A4}"/>
          </ac:cxnSpMkLst>
        </pc:cxnChg>
        <pc:cxnChg chg="mod topLvl">
          <ac:chgData name="Hillard, Laura" userId="fb6b425a-e8d9-473f-bcd9-e45358f5bb1d" providerId="ADAL" clId="{ED5B23FA-AB2C-498E-AB64-7CAD937BFAF4}" dt="2023-08-18T17:56:14.484" v="2993" actId="165"/>
          <ac:cxnSpMkLst>
            <pc:docMk/>
            <pc:sldMk cId="938788667" sldId="2147309703"/>
            <ac:cxnSpMk id="112" creationId="{12775014-4E8B-462D-9044-C81F9EF169D4}"/>
          </ac:cxnSpMkLst>
        </pc:cxnChg>
        <pc:cxnChg chg="mod">
          <ac:chgData name="Hillard, Laura" userId="fb6b425a-e8d9-473f-bcd9-e45358f5bb1d" providerId="ADAL" clId="{ED5B23FA-AB2C-498E-AB64-7CAD937BFAF4}" dt="2023-08-18T17:56:14.484" v="2993" actId="165"/>
          <ac:cxnSpMkLst>
            <pc:docMk/>
            <pc:sldMk cId="938788667" sldId="2147309703"/>
            <ac:cxnSpMk id="125" creationId="{60822F37-2269-49E9-92C7-D75C22A0265B}"/>
          </ac:cxnSpMkLst>
        </pc:cxnChg>
        <pc:cxnChg chg="mod">
          <ac:chgData name="Hillard, Laura" userId="fb6b425a-e8d9-473f-bcd9-e45358f5bb1d" providerId="ADAL" clId="{ED5B23FA-AB2C-498E-AB64-7CAD937BFAF4}" dt="2023-08-18T17:56:14.484" v="2993" actId="165"/>
          <ac:cxnSpMkLst>
            <pc:docMk/>
            <pc:sldMk cId="938788667" sldId="2147309703"/>
            <ac:cxnSpMk id="137" creationId="{EF257F09-393E-41B5-864C-F667306818CD}"/>
          </ac:cxnSpMkLst>
        </pc:cxnChg>
      </pc:sldChg>
      <pc:sldChg chg="del">
        <pc:chgData name="Hillard, Laura" userId="fb6b425a-e8d9-473f-bcd9-e45358f5bb1d" providerId="ADAL" clId="{ED5B23FA-AB2C-498E-AB64-7CAD937BFAF4}" dt="2023-08-17T20:38:57.245" v="524" actId="47"/>
        <pc:sldMkLst>
          <pc:docMk/>
          <pc:sldMk cId="3995071384" sldId="2147309709"/>
        </pc:sldMkLst>
      </pc:sldChg>
      <pc:sldChg chg="del">
        <pc:chgData name="Hillard, Laura" userId="fb6b425a-e8d9-473f-bcd9-e45358f5bb1d" providerId="ADAL" clId="{ED5B23FA-AB2C-498E-AB64-7CAD937BFAF4}" dt="2023-08-17T20:38:57.774" v="525" actId="47"/>
        <pc:sldMkLst>
          <pc:docMk/>
          <pc:sldMk cId="3260517692" sldId="2147309710"/>
        </pc:sldMkLst>
      </pc:sldChg>
      <pc:sldChg chg="del">
        <pc:chgData name="Hillard, Laura" userId="fb6b425a-e8d9-473f-bcd9-e45358f5bb1d" providerId="ADAL" clId="{ED5B23FA-AB2C-498E-AB64-7CAD937BFAF4}" dt="2023-08-17T20:38:58.205" v="526" actId="47"/>
        <pc:sldMkLst>
          <pc:docMk/>
          <pc:sldMk cId="1313257004" sldId="2147309712"/>
        </pc:sldMkLst>
      </pc:sldChg>
      <pc:sldChg chg="del">
        <pc:chgData name="Hillard, Laura" userId="fb6b425a-e8d9-473f-bcd9-e45358f5bb1d" providerId="ADAL" clId="{ED5B23FA-AB2C-498E-AB64-7CAD937BFAF4}" dt="2023-08-17T20:38:58.712" v="527" actId="47"/>
        <pc:sldMkLst>
          <pc:docMk/>
          <pc:sldMk cId="2102643422" sldId="2147309714"/>
        </pc:sldMkLst>
      </pc:sldChg>
      <pc:sldChg chg="del">
        <pc:chgData name="Hillard, Laura" userId="fb6b425a-e8d9-473f-bcd9-e45358f5bb1d" providerId="ADAL" clId="{ED5B23FA-AB2C-498E-AB64-7CAD937BFAF4}" dt="2023-08-17T20:38:52.966" v="522" actId="47"/>
        <pc:sldMkLst>
          <pc:docMk/>
          <pc:sldMk cId="1505569677" sldId="2147309715"/>
        </pc:sldMkLst>
      </pc:sldChg>
      <pc:sldChg chg="addSp modSp mod ord">
        <pc:chgData name="Hillard, Laura" userId="fb6b425a-e8d9-473f-bcd9-e45358f5bb1d" providerId="ADAL" clId="{ED5B23FA-AB2C-498E-AB64-7CAD937BFAF4}" dt="2023-08-18T19:28:05.031" v="3150" actId="166"/>
        <pc:sldMkLst>
          <pc:docMk/>
          <pc:sldMk cId="1192267893" sldId="2147309716"/>
        </pc:sldMkLst>
        <pc:spChg chg="add mod">
          <ac:chgData name="Hillard, Laura" userId="fb6b425a-e8d9-473f-bcd9-e45358f5bb1d" providerId="ADAL" clId="{ED5B23FA-AB2C-498E-AB64-7CAD937BFAF4}" dt="2023-08-18T19:28:00.328" v="3149" actId="164"/>
          <ac:spMkLst>
            <pc:docMk/>
            <pc:sldMk cId="1192267893" sldId="2147309716"/>
            <ac:spMk id="2" creationId="{8FD4CC9A-5D08-7DFB-CD3F-1C3CD3929FC0}"/>
          </ac:spMkLst>
        </pc:spChg>
        <pc:spChg chg="add mod">
          <ac:chgData name="Hillard, Laura" userId="fb6b425a-e8d9-473f-bcd9-e45358f5bb1d" providerId="ADAL" clId="{ED5B23FA-AB2C-498E-AB64-7CAD937BFAF4}" dt="2023-08-18T19:28:00.328" v="3149" actId="164"/>
          <ac:spMkLst>
            <pc:docMk/>
            <pc:sldMk cId="1192267893" sldId="2147309716"/>
            <ac:spMk id="3" creationId="{B9627C7A-1BB4-6A27-D349-323B5D60CC9A}"/>
          </ac:spMkLst>
        </pc:spChg>
        <pc:spChg chg="add mod">
          <ac:chgData name="Hillard, Laura" userId="fb6b425a-e8d9-473f-bcd9-e45358f5bb1d" providerId="ADAL" clId="{ED5B23FA-AB2C-498E-AB64-7CAD937BFAF4}" dt="2023-08-18T19:28:00.328" v="3149" actId="164"/>
          <ac:spMkLst>
            <pc:docMk/>
            <pc:sldMk cId="1192267893" sldId="2147309716"/>
            <ac:spMk id="5" creationId="{9DF4FFB9-A7D0-6D4F-0F16-2D48B3B9CB76}"/>
          </ac:spMkLst>
        </pc:spChg>
        <pc:spChg chg="add mod">
          <ac:chgData name="Hillard, Laura" userId="fb6b425a-e8d9-473f-bcd9-e45358f5bb1d" providerId="ADAL" clId="{ED5B23FA-AB2C-498E-AB64-7CAD937BFAF4}" dt="2023-08-18T19:28:00.328" v="3149" actId="164"/>
          <ac:spMkLst>
            <pc:docMk/>
            <pc:sldMk cId="1192267893" sldId="2147309716"/>
            <ac:spMk id="6" creationId="{5993EDBA-1335-576F-4F60-987683539097}"/>
          </ac:spMkLst>
        </pc:spChg>
        <pc:spChg chg="ord">
          <ac:chgData name="Hillard, Laura" userId="fb6b425a-e8d9-473f-bcd9-e45358f5bb1d" providerId="ADAL" clId="{ED5B23FA-AB2C-498E-AB64-7CAD937BFAF4}" dt="2023-08-18T19:28:05.031" v="3150" actId="166"/>
          <ac:spMkLst>
            <pc:docMk/>
            <pc:sldMk cId="1192267893" sldId="2147309716"/>
            <ac:spMk id="83" creationId="{20BDC07D-3AE0-4E13-9667-4A6C2DA16ED9}"/>
          </ac:spMkLst>
        </pc:spChg>
        <pc:grpChg chg="add mod">
          <ac:chgData name="Hillard, Laura" userId="fb6b425a-e8d9-473f-bcd9-e45358f5bb1d" providerId="ADAL" clId="{ED5B23FA-AB2C-498E-AB64-7CAD937BFAF4}" dt="2023-08-18T19:28:00.328" v="3149" actId="164"/>
          <ac:grpSpMkLst>
            <pc:docMk/>
            <pc:sldMk cId="1192267893" sldId="2147309716"/>
            <ac:grpSpMk id="11" creationId="{82EDE19E-E97D-B17E-DE51-EE9090753003}"/>
          </ac:grpSpMkLst>
        </pc:grpChg>
        <pc:picChg chg="mod">
          <ac:chgData name="Hillard, Laura" userId="fb6b425a-e8d9-473f-bcd9-e45358f5bb1d" providerId="ADAL" clId="{ED5B23FA-AB2C-498E-AB64-7CAD937BFAF4}" dt="2023-08-18T19:28:00.328" v="3149" actId="164"/>
          <ac:picMkLst>
            <pc:docMk/>
            <pc:sldMk cId="1192267893" sldId="2147309716"/>
            <ac:picMk id="7" creationId="{FCE563AF-AEE7-4467-923F-EC7301536FD1}"/>
          </ac:picMkLst>
        </pc:picChg>
      </pc:sldChg>
      <pc:sldChg chg="modSp mod ord modShow">
        <pc:chgData name="Hillard, Laura" userId="fb6b425a-e8d9-473f-bcd9-e45358f5bb1d" providerId="ADAL" clId="{ED5B23FA-AB2C-498E-AB64-7CAD937BFAF4}" dt="2023-08-18T17:48:26.769" v="2954"/>
        <pc:sldMkLst>
          <pc:docMk/>
          <pc:sldMk cId="724742027" sldId="2147309717"/>
        </pc:sldMkLst>
        <pc:spChg chg="mod">
          <ac:chgData name="Hillard, Laura" userId="fb6b425a-e8d9-473f-bcd9-e45358f5bb1d" providerId="ADAL" clId="{ED5B23FA-AB2C-498E-AB64-7CAD937BFAF4}" dt="2023-08-17T20:35:23.130" v="407" actId="20577"/>
          <ac:spMkLst>
            <pc:docMk/>
            <pc:sldMk cId="724742027" sldId="2147309717"/>
            <ac:spMk id="53" creationId="{FA1C4791-9F0C-4204-AE40-854BE98BF79B}"/>
          </ac:spMkLst>
        </pc:spChg>
      </pc:sldChg>
      <pc:sldChg chg="ord">
        <pc:chgData name="Hillard, Laura" userId="fb6b425a-e8d9-473f-bcd9-e45358f5bb1d" providerId="ADAL" clId="{ED5B23FA-AB2C-498E-AB64-7CAD937BFAF4}" dt="2023-08-17T20:38:50.647" v="521"/>
        <pc:sldMkLst>
          <pc:docMk/>
          <pc:sldMk cId="2896434862" sldId="2147309719"/>
        </pc:sldMkLst>
      </pc:sldChg>
      <pc:sldChg chg="ord">
        <pc:chgData name="Hillard, Laura" userId="fb6b425a-e8d9-473f-bcd9-e45358f5bb1d" providerId="ADAL" clId="{ED5B23FA-AB2C-498E-AB64-7CAD937BFAF4}" dt="2023-08-18T16:02:03.927" v="2508"/>
        <pc:sldMkLst>
          <pc:docMk/>
          <pc:sldMk cId="1828394453" sldId="2147309720"/>
        </pc:sldMkLst>
      </pc:sldChg>
      <pc:sldChg chg="del">
        <pc:chgData name="Hillard, Laura" userId="fb6b425a-e8d9-473f-bcd9-e45358f5bb1d" providerId="ADAL" clId="{ED5B23FA-AB2C-498E-AB64-7CAD937BFAF4}" dt="2023-08-18T03:16:30.188" v="2450" actId="47"/>
        <pc:sldMkLst>
          <pc:docMk/>
          <pc:sldMk cId="3976688441" sldId="2147309721"/>
        </pc:sldMkLst>
      </pc:sldChg>
      <pc:sldChg chg="ord">
        <pc:chgData name="Hillard, Laura" userId="fb6b425a-e8d9-473f-bcd9-e45358f5bb1d" providerId="ADAL" clId="{ED5B23FA-AB2C-498E-AB64-7CAD937BFAF4}" dt="2023-08-18T17:49:17.906" v="2978"/>
        <pc:sldMkLst>
          <pc:docMk/>
          <pc:sldMk cId="482197398" sldId="2147309723"/>
        </pc:sldMkLst>
      </pc:sldChg>
      <pc:sldChg chg="del">
        <pc:chgData name="Hillard, Laura" userId="fb6b425a-e8d9-473f-bcd9-e45358f5bb1d" providerId="ADAL" clId="{ED5B23FA-AB2C-498E-AB64-7CAD937BFAF4}" dt="2023-08-18T03:16:33.406" v="2452" actId="47"/>
        <pc:sldMkLst>
          <pc:docMk/>
          <pc:sldMk cId="2123864487" sldId="2147309725"/>
        </pc:sldMkLst>
      </pc:sldChg>
      <pc:sldChg chg="del">
        <pc:chgData name="Hillard, Laura" userId="fb6b425a-e8d9-473f-bcd9-e45358f5bb1d" providerId="ADAL" clId="{ED5B23FA-AB2C-498E-AB64-7CAD937BFAF4}" dt="2023-08-18T03:16:34.862" v="2453" actId="47"/>
        <pc:sldMkLst>
          <pc:docMk/>
          <pc:sldMk cId="699997082" sldId="2147309726"/>
        </pc:sldMkLst>
      </pc:sldChg>
      <pc:sldChg chg="del">
        <pc:chgData name="Hillard, Laura" userId="fb6b425a-e8d9-473f-bcd9-e45358f5bb1d" providerId="ADAL" clId="{ED5B23FA-AB2C-498E-AB64-7CAD937BFAF4}" dt="2023-08-18T03:16:35.791" v="2454" actId="47"/>
        <pc:sldMkLst>
          <pc:docMk/>
          <pc:sldMk cId="2756856898" sldId="2147309727"/>
        </pc:sldMkLst>
      </pc:sldChg>
      <pc:sldChg chg="del">
        <pc:chgData name="Hillard, Laura" userId="fb6b425a-e8d9-473f-bcd9-e45358f5bb1d" providerId="ADAL" clId="{ED5B23FA-AB2C-498E-AB64-7CAD937BFAF4}" dt="2023-08-18T02:55:45.822" v="1771" actId="47"/>
        <pc:sldMkLst>
          <pc:docMk/>
          <pc:sldMk cId="3074857005" sldId="2147309728"/>
        </pc:sldMkLst>
      </pc:sldChg>
      <pc:sldChg chg="addSp delSp modSp new mod ord setBg">
        <pc:chgData name="Hillard, Laura" userId="fb6b425a-e8d9-473f-bcd9-e45358f5bb1d" providerId="ADAL" clId="{ED5B23FA-AB2C-498E-AB64-7CAD937BFAF4}" dt="2023-08-18T19:09:14.443" v="3032"/>
        <pc:sldMkLst>
          <pc:docMk/>
          <pc:sldMk cId="3048672209" sldId="2147309729"/>
        </pc:sldMkLst>
        <pc:spChg chg="mod">
          <ac:chgData name="Hillard, Laura" userId="fb6b425a-e8d9-473f-bcd9-e45358f5bb1d" providerId="ADAL" clId="{ED5B23FA-AB2C-498E-AB64-7CAD937BFAF4}" dt="2023-08-17T17:17:42.918" v="4" actId="26606"/>
          <ac:spMkLst>
            <pc:docMk/>
            <pc:sldMk cId="3048672209" sldId="2147309729"/>
            <ac:spMk id="2" creationId="{0C23F12B-78CD-588D-F604-FF0A4F199597}"/>
          </ac:spMkLst>
        </pc:spChg>
        <pc:spChg chg="mod">
          <ac:chgData name="Hillard, Laura" userId="fb6b425a-e8d9-473f-bcd9-e45358f5bb1d" providerId="ADAL" clId="{ED5B23FA-AB2C-498E-AB64-7CAD937BFAF4}" dt="2023-08-17T17:17:42.918" v="4" actId="26606"/>
          <ac:spMkLst>
            <pc:docMk/>
            <pc:sldMk cId="3048672209" sldId="2147309729"/>
            <ac:spMk id="3" creationId="{0EFFFA6F-81AA-2BA4-E49B-A620CBB40C3A}"/>
          </ac:spMkLst>
        </pc:spChg>
        <pc:spChg chg="add">
          <ac:chgData name="Hillard, Laura" userId="fb6b425a-e8d9-473f-bcd9-e45358f5bb1d" providerId="ADAL" clId="{ED5B23FA-AB2C-498E-AB64-7CAD937BFAF4}" dt="2023-08-17T17:17:42.918" v="4" actId="26606"/>
          <ac:spMkLst>
            <pc:docMk/>
            <pc:sldMk cId="3048672209" sldId="2147309729"/>
            <ac:spMk id="10" creationId="{53F29798-D584-4792-9B62-3F5F5C36D619}"/>
          </ac:spMkLst>
        </pc:spChg>
        <pc:graphicFrameChg chg="add del mod">
          <ac:chgData name="Hillard, Laura" userId="fb6b425a-e8d9-473f-bcd9-e45358f5bb1d" providerId="ADAL" clId="{ED5B23FA-AB2C-498E-AB64-7CAD937BFAF4}" dt="2023-08-17T17:17:35.255" v="2"/>
          <ac:graphicFrameMkLst>
            <pc:docMk/>
            <pc:sldMk cId="3048672209" sldId="2147309729"/>
            <ac:graphicFrameMk id="4" creationId="{4B0F9E4A-ADDA-B143-5AD1-47247C1C1242}"/>
          </ac:graphicFrameMkLst>
        </pc:graphicFrameChg>
        <pc:graphicFrameChg chg="add mod modGraphic">
          <ac:chgData name="Hillard, Laura" userId="fb6b425a-e8d9-473f-bcd9-e45358f5bb1d" providerId="ADAL" clId="{ED5B23FA-AB2C-498E-AB64-7CAD937BFAF4}" dt="2023-08-17T17:17:42.918" v="4" actId="26606"/>
          <ac:graphicFrameMkLst>
            <pc:docMk/>
            <pc:sldMk cId="3048672209" sldId="2147309729"/>
            <ac:graphicFrameMk id="5" creationId="{F0967015-1169-6E00-07EA-2AA50DC0062F}"/>
          </ac:graphicFrameMkLst>
        </pc:graphicFrameChg>
      </pc:sldChg>
      <pc:sldChg chg="add del">
        <pc:chgData name="Hillard, Laura" userId="fb6b425a-e8d9-473f-bcd9-e45358f5bb1d" providerId="ADAL" clId="{ED5B23FA-AB2C-498E-AB64-7CAD937BFAF4}" dt="2023-08-18T02:38:01.153" v="1003" actId="47"/>
        <pc:sldMkLst>
          <pc:docMk/>
          <pc:sldMk cId="2879245234" sldId="2147469149"/>
        </pc:sldMkLst>
      </pc:sldChg>
      <pc:sldChg chg="addSp modSp add del mod ord modShow">
        <pc:chgData name="Hillard, Laura" userId="fb6b425a-e8d9-473f-bcd9-e45358f5bb1d" providerId="ADAL" clId="{ED5B23FA-AB2C-498E-AB64-7CAD937BFAF4}" dt="2023-08-18T17:48:35.994" v="2956"/>
        <pc:sldMkLst>
          <pc:docMk/>
          <pc:sldMk cId="2816985716" sldId="2147472279"/>
        </pc:sldMkLst>
        <pc:spChg chg="add mod">
          <ac:chgData name="Hillard, Laura" userId="fb6b425a-e8d9-473f-bcd9-e45358f5bb1d" providerId="ADAL" clId="{ED5B23FA-AB2C-498E-AB64-7CAD937BFAF4}" dt="2023-08-17T20:38:32.346" v="519" actId="20577"/>
          <ac:spMkLst>
            <pc:docMk/>
            <pc:sldMk cId="2816985716" sldId="2147472279"/>
            <ac:spMk id="2" creationId="{94DDEAA1-BF9A-5DB1-591D-4E05BCDF18EA}"/>
          </ac:spMkLst>
        </pc:spChg>
        <pc:spChg chg="mod">
          <ac:chgData name="Hillard, Laura" userId="fb6b425a-e8d9-473f-bcd9-e45358f5bb1d" providerId="ADAL" clId="{ED5B23FA-AB2C-498E-AB64-7CAD937BFAF4}" dt="2023-08-17T20:38:12.775" v="421" actId="1076"/>
          <ac:spMkLst>
            <pc:docMk/>
            <pc:sldMk cId="2816985716" sldId="2147472279"/>
            <ac:spMk id="76" creationId="{D77DA4B2-27DC-9B77-5BAD-524B8AA13E5E}"/>
          </ac:spMkLst>
        </pc:spChg>
        <pc:spChg chg="mod">
          <ac:chgData name="Hillard, Laura" userId="fb6b425a-e8d9-473f-bcd9-e45358f5bb1d" providerId="ADAL" clId="{ED5B23FA-AB2C-498E-AB64-7CAD937BFAF4}" dt="2023-08-17T20:37:54.623" v="417" actId="14100"/>
          <ac:spMkLst>
            <pc:docMk/>
            <pc:sldMk cId="2816985716" sldId="2147472279"/>
            <ac:spMk id="81" creationId="{7B60D5BD-2C3A-FE38-745E-DACAEC07C568}"/>
          </ac:spMkLst>
        </pc:spChg>
        <pc:grpChg chg="mod">
          <ac:chgData name="Hillard, Laura" userId="fb6b425a-e8d9-473f-bcd9-e45358f5bb1d" providerId="ADAL" clId="{ED5B23FA-AB2C-498E-AB64-7CAD937BFAF4}" dt="2023-08-17T20:37:41.523" v="415" actId="12788"/>
          <ac:grpSpMkLst>
            <pc:docMk/>
            <pc:sldMk cId="2816985716" sldId="2147472279"/>
            <ac:grpSpMk id="82" creationId="{46CCB4B9-26E2-F2F0-9EE0-6D88858207FF}"/>
          </ac:grpSpMkLst>
        </pc:grpChg>
      </pc:sldChg>
      <pc:sldChg chg="addSp delSp modSp add mod ord modAnim">
        <pc:chgData name="Hillard, Laura" userId="fb6b425a-e8d9-473f-bcd9-e45358f5bb1d" providerId="ADAL" clId="{ED5B23FA-AB2C-498E-AB64-7CAD937BFAF4}" dt="2023-08-18T17:55:35.516" v="2992"/>
        <pc:sldMkLst>
          <pc:docMk/>
          <pc:sldMk cId="103226455" sldId="2147472280"/>
        </pc:sldMkLst>
        <pc:spChg chg="mod topLvl">
          <ac:chgData name="Hillard, Laura" userId="fb6b425a-e8d9-473f-bcd9-e45358f5bb1d" providerId="ADAL" clId="{ED5B23FA-AB2C-498E-AB64-7CAD937BFAF4}" dt="2023-08-18T17:50:06.348" v="2983" actId="165"/>
          <ac:spMkLst>
            <pc:docMk/>
            <pc:sldMk cId="103226455" sldId="2147472280"/>
            <ac:spMk id="2" creationId="{94DDEAA1-BF9A-5DB1-591D-4E05BCDF18EA}"/>
          </ac:spMkLst>
        </pc:spChg>
        <pc:spChg chg="add mod">
          <ac:chgData name="Hillard, Laura" userId="fb6b425a-e8d9-473f-bcd9-e45358f5bb1d" providerId="ADAL" clId="{ED5B23FA-AB2C-498E-AB64-7CAD937BFAF4}" dt="2023-08-18T17:49:48.256" v="2981" actId="571"/>
          <ac:spMkLst>
            <pc:docMk/>
            <pc:sldMk cId="103226455" sldId="2147472280"/>
            <ac:spMk id="8" creationId="{82991FE6-41B5-D8D1-84BB-F5A28820E519}"/>
          </ac:spMkLst>
        </pc:spChg>
        <pc:spChg chg="mod topLvl">
          <ac:chgData name="Hillard, Laura" userId="fb6b425a-e8d9-473f-bcd9-e45358f5bb1d" providerId="ADAL" clId="{ED5B23FA-AB2C-498E-AB64-7CAD937BFAF4}" dt="2023-08-18T17:50:02.547" v="2982" actId="165"/>
          <ac:spMkLst>
            <pc:docMk/>
            <pc:sldMk cId="103226455" sldId="2147472280"/>
            <ac:spMk id="21" creationId="{1FA11ACC-ECD4-CD65-D78D-BCE26B30B602}"/>
          </ac:spMkLst>
        </pc:spChg>
        <pc:spChg chg="mod topLvl">
          <ac:chgData name="Hillard, Laura" userId="fb6b425a-e8d9-473f-bcd9-e45358f5bb1d" providerId="ADAL" clId="{ED5B23FA-AB2C-498E-AB64-7CAD937BFAF4}" dt="2023-08-18T17:54:53.335" v="2985" actId="164"/>
          <ac:spMkLst>
            <pc:docMk/>
            <pc:sldMk cId="103226455" sldId="2147472280"/>
            <ac:spMk id="22" creationId="{ACB1F527-6147-4CDA-EF39-D24BAA045D7A}"/>
          </ac:spMkLst>
        </pc:spChg>
        <pc:spChg chg="mod topLvl">
          <ac:chgData name="Hillard, Laura" userId="fb6b425a-e8d9-473f-bcd9-e45358f5bb1d" providerId="ADAL" clId="{ED5B23FA-AB2C-498E-AB64-7CAD937BFAF4}" dt="2023-08-18T17:54:53.335" v="2985" actId="164"/>
          <ac:spMkLst>
            <pc:docMk/>
            <pc:sldMk cId="103226455" sldId="2147472280"/>
            <ac:spMk id="24" creationId="{4A8911FD-802C-327F-AB44-88B4D2AF00EA}"/>
          </ac:spMkLst>
        </pc:spChg>
        <pc:spChg chg="mod topLvl">
          <ac:chgData name="Hillard, Laura" userId="fb6b425a-e8d9-473f-bcd9-e45358f5bb1d" providerId="ADAL" clId="{ED5B23FA-AB2C-498E-AB64-7CAD937BFAF4}" dt="2023-08-18T17:54:53.335" v="2985" actId="164"/>
          <ac:spMkLst>
            <pc:docMk/>
            <pc:sldMk cId="103226455" sldId="2147472280"/>
            <ac:spMk id="25" creationId="{854AC292-32B5-29CC-754D-978C81FC91AA}"/>
          </ac:spMkLst>
        </pc:spChg>
        <pc:spChg chg="mod topLvl">
          <ac:chgData name="Hillard, Laura" userId="fb6b425a-e8d9-473f-bcd9-e45358f5bb1d" providerId="ADAL" clId="{ED5B23FA-AB2C-498E-AB64-7CAD937BFAF4}" dt="2023-08-17T20:58:00.758" v="817" actId="242"/>
          <ac:spMkLst>
            <pc:docMk/>
            <pc:sldMk cId="103226455" sldId="2147472280"/>
            <ac:spMk id="49" creationId="{AB9A443A-8152-AB08-9D86-33ED1788EFF6}"/>
          </ac:spMkLst>
        </pc:spChg>
        <pc:spChg chg="mod topLvl">
          <ac:chgData name="Hillard, Laura" userId="fb6b425a-e8d9-473f-bcd9-e45358f5bb1d" providerId="ADAL" clId="{ED5B23FA-AB2C-498E-AB64-7CAD937BFAF4}" dt="2023-08-18T03:03:13.596" v="2049" actId="403"/>
          <ac:spMkLst>
            <pc:docMk/>
            <pc:sldMk cId="103226455" sldId="2147472280"/>
            <ac:spMk id="55" creationId="{34B673A0-382A-B337-3560-2329F60E3321}"/>
          </ac:spMkLst>
        </pc:spChg>
        <pc:spChg chg="mod topLvl">
          <ac:chgData name="Hillard, Laura" userId="fb6b425a-e8d9-473f-bcd9-e45358f5bb1d" providerId="ADAL" clId="{ED5B23FA-AB2C-498E-AB64-7CAD937BFAF4}" dt="2023-08-18T17:54:57.099" v="2986" actId="164"/>
          <ac:spMkLst>
            <pc:docMk/>
            <pc:sldMk cId="103226455" sldId="2147472280"/>
            <ac:spMk id="65" creationId="{992A6746-A691-44BA-E4A4-072715163FE8}"/>
          </ac:spMkLst>
        </pc:spChg>
        <pc:spChg chg="mod topLvl">
          <ac:chgData name="Hillard, Laura" userId="fb6b425a-e8d9-473f-bcd9-e45358f5bb1d" providerId="ADAL" clId="{ED5B23FA-AB2C-498E-AB64-7CAD937BFAF4}" dt="2023-08-18T17:54:57.099" v="2986" actId="164"/>
          <ac:spMkLst>
            <pc:docMk/>
            <pc:sldMk cId="103226455" sldId="2147472280"/>
            <ac:spMk id="66" creationId="{EABE5151-B125-4871-172E-63F111704197}"/>
          </ac:spMkLst>
        </pc:spChg>
        <pc:spChg chg="mod topLvl">
          <ac:chgData name="Hillard, Laura" userId="fb6b425a-e8d9-473f-bcd9-e45358f5bb1d" providerId="ADAL" clId="{ED5B23FA-AB2C-498E-AB64-7CAD937BFAF4}" dt="2023-08-18T17:54:57.099" v="2986" actId="164"/>
          <ac:spMkLst>
            <pc:docMk/>
            <pc:sldMk cId="103226455" sldId="2147472280"/>
            <ac:spMk id="67" creationId="{9DB9DF2D-DAC6-DD72-69AA-488DDB97B7B5}"/>
          </ac:spMkLst>
        </pc:spChg>
        <pc:spChg chg="mod topLvl">
          <ac:chgData name="Hillard, Laura" userId="fb6b425a-e8d9-473f-bcd9-e45358f5bb1d" providerId="ADAL" clId="{ED5B23FA-AB2C-498E-AB64-7CAD937BFAF4}" dt="2023-08-18T17:54:47.243" v="2984" actId="164"/>
          <ac:spMkLst>
            <pc:docMk/>
            <pc:sldMk cId="103226455" sldId="2147472280"/>
            <ac:spMk id="74" creationId="{66803590-8AFB-7080-36DF-43C9C03B8EEE}"/>
          </ac:spMkLst>
        </pc:spChg>
        <pc:spChg chg="mod topLvl">
          <ac:chgData name="Hillard, Laura" userId="fb6b425a-e8d9-473f-bcd9-e45358f5bb1d" providerId="ADAL" clId="{ED5B23FA-AB2C-498E-AB64-7CAD937BFAF4}" dt="2023-08-18T17:54:47.243" v="2984" actId="164"/>
          <ac:spMkLst>
            <pc:docMk/>
            <pc:sldMk cId="103226455" sldId="2147472280"/>
            <ac:spMk id="75" creationId="{8C9B1531-292B-379B-E870-480BFE1062B6}"/>
          </ac:spMkLst>
        </pc:spChg>
        <pc:spChg chg="mod topLvl">
          <ac:chgData name="Hillard, Laura" userId="fb6b425a-e8d9-473f-bcd9-e45358f5bb1d" providerId="ADAL" clId="{ED5B23FA-AB2C-498E-AB64-7CAD937BFAF4}" dt="2023-08-18T17:54:47.243" v="2984" actId="164"/>
          <ac:spMkLst>
            <pc:docMk/>
            <pc:sldMk cId="103226455" sldId="2147472280"/>
            <ac:spMk id="76" creationId="{D77DA4B2-27DC-9B77-5BAD-524B8AA13E5E}"/>
          </ac:spMkLst>
        </pc:spChg>
        <pc:spChg chg="mod topLvl">
          <ac:chgData name="Hillard, Laura" userId="fb6b425a-e8d9-473f-bcd9-e45358f5bb1d" providerId="ADAL" clId="{ED5B23FA-AB2C-498E-AB64-7CAD937BFAF4}" dt="2023-08-17T20:58:12.412" v="819" actId="1076"/>
          <ac:spMkLst>
            <pc:docMk/>
            <pc:sldMk cId="103226455" sldId="2147472280"/>
            <ac:spMk id="81" creationId="{7B60D5BD-2C3A-FE38-745E-DACAEC07C568}"/>
          </ac:spMkLst>
        </pc:spChg>
        <pc:grpChg chg="add del mod">
          <ac:chgData name="Hillard, Laura" userId="fb6b425a-e8d9-473f-bcd9-e45358f5bb1d" providerId="ADAL" clId="{ED5B23FA-AB2C-498E-AB64-7CAD937BFAF4}" dt="2023-08-18T17:50:06.348" v="2983" actId="165"/>
          <ac:grpSpMkLst>
            <pc:docMk/>
            <pc:sldMk cId="103226455" sldId="2147472280"/>
            <ac:grpSpMk id="3" creationId="{A80F7A10-9887-85BB-4804-A4D3CB5ABFBC}"/>
          </ac:grpSpMkLst>
        </pc:grpChg>
        <pc:grpChg chg="add del mod">
          <ac:chgData name="Hillard, Laura" userId="fb6b425a-e8d9-473f-bcd9-e45358f5bb1d" providerId="ADAL" clId="{ED5B23FA-AB2C-498E-AB64-7CAD937BFAF4}" dt="2023-08-18T17:50:02.547" v="2982" actId="165"/>
          <ac:grpSpMkLst>
            <pc:docMk/>
            <pc:sldMk cId="103226455" sldId="2147472280"/>
            <ac:grpSpMk id="5" creationId="{EEC285F4-B680-E883-1423-5FB92043428A}"/>
          </ac:grpSpMkLst>
        </pc:grpChg>
        <pc:grpChg chg="del mod topLvl">
          <ac:chgData name="Hillard, Laura" userId="fb6b425a-e8d9-473f-bcd9-e45358f5bb1d" providerId="ADAL" clId="{ED5B23FA-AB2C-498E-AB64-7CAD937BFAF4}" dt="2023-08-17T20:42:20.457" v="604" actId="165"/>
          <ac:grpSpMkLst>
            <pc:docMk/>
            <pc:sldMk cId="103226455" sldId="2147472280"/>
            <ac:grpSpMk id="6" creationId="{3BD96DA1-880B-C2CE-9D26-CAD60F8D8E0A}"/>
          </ac:grpSpMkLst>
        </pc:grpChg>
        <pc:grpChg chg="add mod">
          <ac:chgData name="Hillard, Laura" userId="fb6b425a-e8d9-473f-bcd9-e45358f5bb1d" providerId="ADAL" clId="{ED5B23FA-AB2C-498E-AB64-7CAD937BFAF4}" dt="2023-08-18T17:54:47.243" v="2984" actId="164"/>
          <ac:grpSpMkLst>
            <pc:docMk/>
            <pc:sldMk cId="103226455" sldId="2147472280"/>
            <ac:grpSpMk id="9" creationId="{9AA70B74-72B3-303C-DBA5-1F1332058DC2}"/>
          </ac:grpSpMkLst>
        </pc:grpChg>
        <pc:grpChg chg="add mod">
          <ac:chgData name="Hillard, Laura" userId="fb6b425a-e8d9-473f-bcd9-e45358f5bb1d" providerId="ADAL" clId="{ED5B23FA-AB2C-498E-AB64-7CAD937BFAF4}" dt="2023-08-18T17:54:53.335" v="2985" actId="164"/>
          <ac:grpSpMkLst>
            <pc:docMk/>
            <pc:sldMk cId="103226455" sldId="2147472280"/>
            <ac:grpSpMk id="10" creationId="{F8EB5694-75E9-E541-991D-7EA3B123D64C}"/>
          </ac:grpSpMkLst>
        </pc:grpChg>
        <pc:grpChg chg="add mod">
          <ac:chgData name="Hillard, Laura" userId="fb6b425a-e8d9-473f-bcd9-e45358f5bb1d" providerId="ADAL" clId="{ED5B23FA-AB2C-498E-AB64-7CAD937BFAF4}" dt="2023-08-18T17:54:57.099" v="2986" actId="164"/>
          <ac:grpSpMkLst>
            <pc:docMk/>
            <pc:sldMk cId="103226455" sldId="2147472280"/>
            <ac:grpSpMk id="11" creationId="{36BCCA02-871C-A6FD-084A-4F1A51581466}"/>
          </ac:grpSpMkLst>
        </pc:grpChg>
        <pc:grpChg chg="del mod topLvl">
          <ac:chgData name="Hillard, Laura" userId="fb6b425a-e8d9-473f-bcd9-e45358f5bb1d" providerId="ADAL" clId="{ED5B23FA-AB2C-498E-AB64-7CAD937BFAF4}" dt="2023-08-17T20:42:20.457" v="604" actId="165"/>
          <ac:grpSpMkLst>
            <pc:docMk/>
            <pc:sldMk cId="103226455" sldId="2147472280"/>
            <ac:grpSpMk id="19" creationId="{7C3932FF-35AD-1F74-4C4A-1832B932E23F}"/>
          </ac:grpSpMkLst>
        </pc:grpChg>
        <pc:grpChg chg="del mod topLvl">
          <ac:chgData name="Hillard, Laura" userId="fb6b425a-e8d9-473f-bcd9-e45358f5bb1d" providerId="ADAL" clId="{ED5B23FA-AB2C-498E-AB64-7CAD937BFAF4}" dt="2023-08-17T20:43:32.706" v="613" actId="165"/>
          <ac:grpSpMkLst>
            <pc:docMk/>
            <pc:sldMk cId="103226455" sldId="2147472280"/>
            <ac:grpSpMk id="20" creationId="{B8A485B1-05F2-446F-445D-10618CDCAB1E}"/>
          </ac:grpSpMkLst>
        </pc:grpChg>
        <pc:grpChg chg="del mod topLvl">
          <ac:chgData name="Hillard, Laura" userId="fb6b425a-e8d9-473f-bcd9-e45358f5bb1d" providerId="ADAL" clId="{ED5B23FA-AB2C-498E-AB64-7CAD937BFAF4}" dt="2023-08-17T20:41:27.531" v="572" actId="165"/>
          <ac:grpSpMkLst>
            <pc:docMk/>
            <pc:sldMk cId="103226455" sldId="2147472280"/>
            <ac:grpSpMk id="26" creationId="{5DD6ED29-8E21-D2EE-090C-6D3596121881}"/>
          </ac:grpSpMkLst>
        </pc:grpChg>
        <pc:grpChg chg="del mod topLvl">
          <ac:chgData name="Hillard, Laura" userId="fb6b425a-e8d9-473f-bcd9-e45358f5bb1d" providerId="ADAL" clId="{ED5B23FA-AB2C-498E-AB64-7CAD937BFAF4}" dt="2023-08-17T20:41:02.001" v="543" actId="165"/>
          <ac:grpSpMkLst>
            <pc:docMk/>
            <pc:sldMk cId="103226455" sldId="2147472280"/>
            <ac:grpSpMk id="41" creationId="{F3BC3C56-2995-C4B7-1C11-6C1CA2B5E99D}"/>
          </ac:grpSpMkLst>
        </pc:grpChg>
        <pc:grpChg chg="del mod topLvl">
          <ac:chgData name="Hillard, Laura" userId="fb6b425a-e8d9-473f-bcd9-e45358f5bb1d" providerId="ADAL" clId="{ED5B23FA-AB2C-498E-AB64-7CAD937BFAF4}" dt="2023-08-18T17:49:42.205" v="2979" actId="165"/>
          <ac:grpSpMkLst>
            <pc:docMk/>
            <pc:sldMk cId="103226455" sldId="2147472280"/>
            <ac:grpSpMk id="54" creationId="{C5A7DA6C-C822-0507-DC64-5133D4D621DE}"/>
          </ac:grpSpMkLst>
        </pc:grpChg>
        <pc:grpChg chg="del mod topLvl">
          <ac:chgData name="Hillard, Laura" userId="fb6b425a-e8d9-473f-bcd9-e45358f5bb1d" providerId="ADAL" clId="{ED5B23FA-AB2C-498E-AB64-7CAD937BFAF4}" dt="2023-08-17T20:42:20.457" v="604" actId="165"/>
          <ac:grpSpMkLst>
            <pc:docMk/>
            <pc:sldMk cId="103226455" sldId="2147472280"/>
            <ac:grpSpMk id="73" creationId="{745125E3-F70D-D219-D965-53F3941B808A}"/>
          </ac:grpSpMkLst>
        </pc:grpChg>
        <pc:grpChg chg="del">
          <ac:chgData name="Hillard, Laura" userId="fb6b425a-e8d9-473f-bcd9-e45358f5bb1d" providerId="ADAL" clId="{ED5B23FA-AB2C-498E-AB64-7CAD937BFAF4}" dt="2023-08-17T20:39:39.726" v="529" actId="165"/>
          <ac:grpSpMkLst>
            <pc:docMk/>
            <pc:sldMk cId="103226455" sldId="2147472280"/>
            <ac:grpSpMk id="82" creationId="{46CCB4B9-26E2-F2F0-9EE0-6D88858207FF}"/>
          </ac:grpSpMkLst>
        </pc:grpChg>
        <pc:picChg chg="add mod">
          <ac:chgData name="Hillard, Laura" userId="fb6b425a-e8d9-473f-bcd9-e45358f5bb1d" providerId="ADAL" clId="{ED5B23FA-AB2C-498E-AB64-7CAD937BFAF4}" dt="2023-08-17T21:00:13.334" v="846" actId="14100"/>
          <ac:picMkLst>
            <pc:docMk/>
            <pc:sldMk cId="103226455" sldId="2147472280"/>
            <ac:picMk id="7" creationId="{67021D6A-776E-60DB-8D8C-A658E73576ED}"/>
          </ac:picMkLst>
        </pc:picChg>
        <pc:cxnChg chg="mod topLvl">
          <ac:chgData name="Hillard, Laura" userId="fb6b425a-e8d9-473f-bcd9-e45358f5bb1d" providerId="ADAL" clId="{ED5B23FA-AB2C-498E-AB64-7CAD937BFAF4}" dt="2023-08-18T17:50:02.547" v="2982" actId="165"/>
          <ac:cxnSpMkLst>
            <pc:docMk/>
            <pc:sldMk cId="103226455" sldId="2147472280"/>
            <ac:cxnSpMk id="33" creationId="{079D991B-ED84-E72B-BBE1-A5F1D533D094}"/>
          </ac:cxnSpMkLst>
        </pc:cxnChg>
        <pc:cxnChg chg="del mod topLvl">
          <ac:chgData name="Hillard, Laura" userId="fb6b425a-e8d9-473f-bcd9-e45358f5bb1d" providerId="ADAL" clId="{ED5B23FA-AB2C-498E-AB64-7CAD937BFAF4}" dt="2023-08-17T20:49:18.660" v="758" actId="478"/>
          <ac:cxnSpMkLst>
            <pc:docMk/>
            <pc:sldMk cId="103226455" sldId="2147472280"/>
            <ac:cxnSpMk id="47" creationId="{B2B19CFD-3E05-CD36-AA86-1FC5FDC10D06}"/>
          </ac:cxnSpMkLst>
        </pc:cxnChg>
        <pc:cxnChg chg="del mod topLvl">
          <ac:chgData name="Hillard, Laura" userId="fb6b425a-e8d9-473f-bcd9-e45358f5bb1d" providerId="ADAL" clId="{ED5B23FA-AB2C-498E-AB64-7CAD937BFAF4}" dt="2023-08-17T20:49:21.180" v="759" actId="478"/>
          <ac:cxnSpMkLst>
            <pc:docMk/>
            <pc:sldMk cId="103226455" sldId="2147472280"/>
            <ac:cxnSpMk id="77" creationId="{B62AA36C-5413-8E4C-934B-DB4C535579DD}"/>
          </ac:cxnSpMkLst>
        </pc:cxnChg>
        <pc:cxnChg chg="del mod topLvl">
          <ac:chgData name="Hillard, Laura" userId="fb6b425a-e8d9-473f-bcd9-e45358f5bb1d" providerId="ADAL" clId="{ED5B23FA-AB2C-498E-AB64-7CAD937BFAF4}" dt="2023-08-17T20:49:25.199" v="760" actId="478"/>
          <ac:cxnSpMkLst>
            <pc:docMk/>
            <pc:sldMk cId="103226455" sldId="2147472280"/>
            <ac:cxnSpMk id="80" creationId="{8C7F22CE-3102-ED92-FB97-9CF5439D9316}"/>
          </ac:cxnSpMkLst>
        </pc:cxnChg>
      </pc:sldChg>
      <pc:sldChg chg="addSp delSp modSp add mod ord modShow">
        <pc:chgData name="Hillard, Laura" userId="fb6b425a-e8d9-473f-bcd9-e45358f5bb1d" providerId="ADAL" clId="{ED5B23FA-AB2C-498E-AB64-7CAD937BFAF4}" dt="2023-08-18T17:48:35.994" v="2956"/>
        <pc:sldMkLst>
          <pc:docMk/>
          <pc:sldMk cId="1306538718" sldId="2147472281"/>
        </pc:sldMkLst>
        <pc:spChg chg="del">
          <ac:chgData name="Hillard, Laura" userId="fb6b425a-e8d9-473f-bcd9-e45358f5bb1d" providerId="ADAL" clId="{ED5B23FA-AB2C-498E-AB64-7CAD937BFAF4}" dt="2023-08-17T21:03:14.385" v="851" actId="478"/>
          <ac:spMkLst>
            <pc:docMk/>
            <pc:sldMk cId="1306538718" sldId="2147472281"/>
            <ac:spMk id="2" creationId="{94DDEAA1-BF9A-5DB1-591D-4E05BCDF18EA}"/>
          </ac:spMkLst>
        </pc:spChg>
        <pc:spChg chg="del mod">
          <ac:chgData name="Hillard, Laura" userId="fb6b425a-e8d9-473f-bcd9-e45358f5bb1d" providerId="ADAL" clId="{ED5B23FA-AB2C-498E-AB64-7CAD937BFAF4}" dt="2023-08-17T21:03:11.916" v="850" actId="478"/>
          <ac:spMkLst>
            <pc:docMk/>
            <pc:sldMk cId="1306538718" sldId="2147472281"/>
            <ac:spMk id="21" creationId="{1FA11ACC-ECD4-CD65-D78D-BCE26B30B602}"/>
          </ac:spMkLst>
        </pc:spChg>
        <pc:spChg chg="mod">
          <ac:chgData name="Hillard, Laura" userId="fb6b425a-e8d9-473f-bcd9-e45358f5bb1d" providerId="ADAL" clId="{ED5B23FA-AB2C-498E-AB64-7CAD937BFAF4}" dt="2023-08-17T21:05:56.777" v="901" actId="14100"/>
          <ac:spMkLst>
            <pc:docMk/>
            <pc:sldMk cId="1306538718" sldId="2147472281"/>
            <ac:spMk id="22" creationId="{ACB1F527-6147-4CDA-EF39-D24BAA045D7A}"/>
          </ac:spMkLst>
        </pc:spChg>
        <pc:spChg chg="mod">
          <ac:chgData name="Hillard, Laura" userId="fb6b425a-e8d9-473f-bcd9-e45358f5bb1d" providerId="ADAL" clId="{ED5B23FA-AB2C-498E-AB64-7CAD937BFAF4}" dt="2023-08-17T21:04:04.666" v="859" actId="207"/>
          <ac:spMkLst>
            <pc:docMk/>
            <pc:sldMk cId="1306538718" sldId="2147472281"/>
            <ac:spMk id="24" creationId="{4A8911FD-802C-327F-AB44-88B4D2AF00EA}"/>
          </ac:spMkLst>
        </pc:spChg>
        <pc:spChg chg="mod">
          <ac:chgData name="Hillard, Laura" userId="fb6b425a-e8d9-473f-bcd9-e45358f5bb1d" providerId="ADAL" clId="{ED5B23FA-AB2C-498E-AB64-7CAD937BFAF4}" dt="2023-08-17T21:03:20.211" v="853" actId="114"/>
          <ac:spMkLst>
            <pc:docMk/>
            <pc:sldMk cId="1306538718" sldId="2147472281"/>
            <ac:spMk id="25" creationId="{854AC292-32B5-29CC-754D-978C81FC91AA}"/>
          </ac:spMkLst>
        </pc:spChg>
        <pc:spChg chg="mod">
          <ac:chgData name="Hillard, Laura" userId="fb6b425a-e8d9-473f-bcd9-e45358f5bb1d" providerId="ADAL" clId="{ED5B23FA-AB2C-498E-AB64-7CAD937BFAF4}" dt="2023-08-17T21:05:42.875" v="892" actId="1038"/>
          <ac:spMkLst>
            <pc:docMk/>
            <pc:sldMk cId="1306538718" sldId="2147472281"/>
            <ac:spMk id="49" creationId="{AB9A443A-8152-AB08-9D86-33ED1788EFF6}"/>
          </ac:spMkLst>
        </pc:spChg>
        <pc:spChg chg="del">
          <ac:chgData name="Hillard, Laura" userId="fb6b425a-e8d9-473f-bcd9-e45358f5bb1d" providerId="ADAL" clId="{ED5B23FA-AB2C-498E-AB64-7CAD937BFAF4}" dt="2023-08-17T21:03:09.128" v="848" actId="478"/>
          <ac:spMkLst>
            <pc:docMk/>
            <pc:sldMk cId="1306538718" sldId="2147472281"/>
            <ac:spMk id="55" creationId="{34B673A0-382A-B337-3560-2329F60E3321}"/>
          </ac:spMkLst>
        </pc:spChg>
        <pc:spChg chg="mod">
          <ac:chgData name="Hillard, Laura" userId="fb6b425a-e8d9-473f-bcd9-e45358f5bb1d" providerId="ADAL" clId="{ED5B23FA-AB2C-498E-AB64-7CAD937BFAF4}" dt="2023-08-17T21:04:02.567" v="858" actId="207"/>
          <ac:spMkLst>
            <pc:docMk/>
            <pc:sldMk cId="1306538718" sldId="2147472281"/>
            <ac:spMk id="66" creationId="{EABE5151-B125-4871-172E-63F111704197}"/>
          </ac:spMkLst>
        </pc:spChg>
        <pc:spChg chg="mod">
          <ac:chgData name="Hillard, Laura" userId="fb6b425a-e8d9-473f-bcd9-e45358f5bb1d" providerId="ADAL" clId="{ED5B23FA-AB2C-498E-AB64-7CAD937BFAF4}" dt="2023-08-17T21:03:26.509" v="854" actId="114"/>
          <ac:spMkLst>
            <pc:docMk/>
            <pc:sldMk cId="1306538718" sldId="2147472281"/>
            <ac:spMk id="67" creationId="{9DB9DF2D-DAC6-DD72-69AA-488DDB97B7B5}"/>
          </ac:spMkLst>
        </pc:spChg>
        <pc:spChg chg="mod">
          <ac:chgData name="Hillard, Laura" userId="fb6b425a-e8d9-473f-bcd9-e45358f5bb1d" providerId="ADAL" clId="{ED5B23FA-AB2C-498E-AB64-7CAD937BFAF4}" dt="2023-08-17T21:04:21.382" v="864" actId="12788"/>
          <ac:spMkLst>
            <pc:docMk/>
            <pc:sldMk cId="1306538718" sldId="2147472281"/>
            <ac:spMk id="74" creationId="{66803590-8AFB-7080-36DF-43C9C03B8EEE}"/>
          </ac:spMkLst>
        </pc:spChg>
        <pc:spChg chg="mod">
          <ac:chgData name="Hillard, Laura" userId="fb6b425a-e8d9-473f-bcd9-e45358f5bb1d" providerId="ADAL" clId="{ED5B23FA-AB2C-498E-AB64-7CAD937BFAF4}" dt="2023-08-17T21:04:21.382" v="864" actId="12788"/>
          <ac:spMkLst>
            <pc:docMk/>
            <pc:sldMk cId="1306538718" sldId="2147472281"/>
            <ac:spMk id="75" creationId="{8C9B1531-292B-379B-E870-480BFE1062B6}"/>
          </ac:spMkLst>
        </pc:spChg>
        <pc:spChg chg="mod">
          <ac:chgData name="Hillard, Laura" userId="fb6b425a-e8d9-473f-bcd9-e45358f5bb1d" providerId="ADAL" clId="{ED5B23FA-AB2C-498E-AB64-7CAD937BFAF4}" dt="2023-08-17T21:04:31.482" v="865" actId="114"/>
          <ac:spMkLst>
            <pc:docMk/>
            <pc:sldMk cId="1306538718" sldId="2147472281"/>
            <ac:spMk id="76" creationId="{D77DA4B2-27DC-9B77-5BAD-524B8AA13E5E}"/>
          </ac:spMkLst>
        </pc:spChg>
        <pc:grpChg chg="mod">
          <ac:chgData name="Hillard, Laura" userId="fb6b425a-e8d9-473f-bcd9-e45358f5bb1d" providerId="ADAL" clId="{ED5B23FA-AB2C-498E-AB64-7CAD937BFAF4}" dt="2023-08-17T21:05:48.492" v="900" actId="1037"/>
          <ac:grpSpMkLst>
            <pc:docMk/>
            <pc:sldMk cId="1306538718" sldId="2147472281"/>
            <ac:grpSpMk id="3" creationId="{A80F7A10-9887-85BB-4804-A4D3CB5ABFBC}"/>
          </ac:grpSpMkLst>
        </pc:grpChg>
        <pc:grpChg chg="mod">
          <ac:chgData name="Hillard, Laura" userId="fb6b425a-e8d9-473f-bcd9-e45358f5bb1d" providerId="ADAL" clId="{ED5B23FA-AB2C-498E-AB64-7CAD937BFAF4}" dt="2023-08-17T21:05:34.500" v="886" actId="1037"/>
          <ac:grpSpMkLst>
            <pc:docMk/>
            <pc:sldMk cId="1306538718" sldId="2147472281"/>
            <ac:grpSpMk id="5" creationId="{EEC285F4-B680-E883-1423-5FB92043428A}"/>
          </ac:grpSpMkLst>
        </pc:grpChg>
        <pc:grpChg chg="mod">
          <ac:chgData name="Hillard, Laura" userId="fb6b425a-e8d9-473f-bcd9-e45358f5bb1d" providerId="ADAL" clId="{ED5B23FA-AB2C-498E-AB64-7CAD937BFAF4}" dt="2023-08-17T21:05:48.492" v="900" actId="1037"/>
          <ac:grpSpMkLst>
            <pc:docMk/>
            <pc:sldMk cId="1306538718" sldId="2147472281"/>
            <ac:grpSpMk id="54" creationId="{C5A7DA6C-C822-0507-DC64-5133D4D621DE}"/>
          </ac:grpSpMkLst>
        </pc:grpChg>
        <pc:picChg chg="add del mod">
          <ac:chgData name="Hillard, Laura" userId="fb6b425a-e8d9-473f-bcd9-e45358f5bb1d" providerId="ADAL" clId="{ED5B23FA-AB2C-498E-AB64-7CAD937BFAF4}" dt="2023-08-18T02:40:20.239" v="1124" actId="21"/>
          <ac:picMkLst>
            <pc:docMk/>
            <pc:sldMk cId="1306538718" sldId="2147472281"/>
            <ac:picMk id="7" creationId="{67021D6A-776E-60DB-8D8C-A658E73576ED}"/>
          </ac:picMkLst>
        </pc:picChg>
      </pc:sldChg>
      <pc:sldChg chg="addSp delSp modSp add mod ord">
        <pc:chgData name="Hillard, Laura" userId="fb6b425a-e8d9-473f-bcd9-e45358f5bb1d" providerId="ADAL" clId="{ED5B23FA-AB2C-498E-AB64-7CAD937BFAF4}" dt="2023-08-18T17:48:04.484" v="2950"/>
        <pc:sldMkLst>
          <pc:docMk/>
          <pc:sldMk cId="3871786098" sldId="2147472282"/>
        </pc:sldMkLst>
        <pc:spChg chg="mod">
          <ac:chgData name="Hillard, Laura" userId="fb6b425a-e8d9-473f-bcd9-e45358f5bb1d" providerId="ADAL" clId="{ED5B23FA-AB2C-498E-AB64-7CAD937BFAF4}" dt="2023-08-18T03:00:16.137" v="2031" actId="14100"/>
          <ac:spMkLst>
            <pc:docMk/>
            <pc:sldMk cId="3871786098" sldId="2147472282"/>
            <ac:spMk id="4" creationId="{1F98FA88-AED9-4172-A77E-CCDDA17E9CD5}"/>
          </ac:spMkLst>
        </pc:spChg>
        <pc:spChg chg="mod">
          <ac:chgData name="Hillard, Laura" userId="fb6b425a-e8d9-473f-bcd9-e45358f5bb1d" providerId="ADAL" clId="{ED5B23FA-AB2C-498E-AB64-7CAD937BFAF4}" dt="2023-08-18T02:40:02.743" v="1120" actId="14100"/>
          <ac:spMkLst>
            <pc:docMk/>
            <pc:sldMk cId="3871786098" sldId="2147472282"/>
            <ac:spMk id="6" creationId="{2AE7D553-7CB2-4047-A9DE-AA82E0C66AE6}"/>
          </ac:spMkLst>
        </pc:spChg>
        <pc:spChg chg="mod">
          <ac:chgData name="Hillard, Laura" userId="fb6b425a-e8d9-473f-bcd9-e45358f5bb1d" providerId="ADAL" clId="{ED5B23FA-AB2C-498E-AB64-7CAD937BFAF4}" dt="2023-08-18T16:01:26.084" v="2497" actId="1035"/>
          <ac:spMkLst>
            <pc:docMk/>
            <pc:sldMk cId="3871786098" sldId="2147472282"/>
            <ac:spMk id="9" creationId="{A20F5400-D6C0-4D34-861F-033D9CCF175B}"/>
          </ac:spMkLst>
        </pc:spChg>
        <pc:spChg chg="mod">
          <ac:chgData name="Hillard, Laura" userId="fb6b425a-e8d9-473f-bcd9-e45358f5bb1d" providerId="ADAL" clId="{ED5B23FA-AB2C-498E-AB64-7CAD937BFAF4}" dt="2023-08-18T02:59:59.920" v="2029" actId="14100"/>
          <ac:spMkLst>
            <pc:docMk/>
            <pc:sldMk cId="3871786098" sldId="2147472282"/>
            <ac:spMk id="12" creationId="{7B7B47BB-7E03-4CAE-B9A2-2E871C056AA5}"/>
          </ac:spMkLst>
        </pc:spChg>
        <pc:spChg chg="add mod">
          <ac:chgData name="Hillard, Laura" userId="fb6b425a-e8d9-473f-bcd9-e45358f5bb1d" providerId="ADAL" clId="{ED5B23FA-AB2C-498E-AB64-7CAD937BFAF4}" dt="2023-08-18T02:58:47.635" v="2000" actId="164"/>
          <ac:spMkLst>
            <pc:docMk/>
            <pc:sldMk cId="3871786098" sldId="2147472282"/>
            <ac:spMk id="16" creationId="{2679FAE0-F723-C4A4-D86E-3D2A14BA17AB}"/>
          </ac:spMkLst>
        </pc:spChg>
        <pc:spChg chg="mod">
          <ac:chgData name="Hillard, Laura" userId="fb6b425a-e8d9-473f-bcd9-e45358f5bb1d" providerId="ADAL" clId="{ED5B23FA-AB2C-498E-AB64-7CAD937BFAF4}" dt="2023-08-18T02:39:58.155" v="1119" actId="14100"/>
          <ac:spMkLst>
            <pc:docMk/>
            <pc:sldMk cId="3871786098" sldId="2147472282"/>
            <ac:spMk id="18" creationId="{9EE8B5EA-9DF9-4492-81E9-1C6A52C24756}"/>
          </ac:spMkLst>
        </pc:spChg>
        <pc:spChg chg="mod">
          <ac:chgData name="Hillard, Laura" userId="fb6b425a-e8d9-473f-bcd9-e45358f5bb1d" providerId="ADAL" clId="{ED5B23FA-AB2C-498E-AB64-7CAD937BFAF4}" dt="2023-08-18T02:58:56.416" v="2005"/>
          <ac:spMkLst>
            <pc:docMk/>
            <pc:sldMk cId="3871786098" sldId="2147472282"/>
            <ac:spMk id="21" creationId="{9EB48394-D17E-3204-EFA2-CD2376B3006B}"/>
          </ac:spMkLst>
        </pc:spChg>
        <pc:spChg chg="mod">
          <ac:chgData name="Hillard, Laura" userId="fb6b425a-e8d9-473f-bcd9-e45358f5bb1d" providerId="ADAL" clId="{ED5B23FA-AB2C-498E-AB64-7CAD937BFAF4}" dt="2023-08-18T02:59:49.020" v="2027" actId="164"/>
          <ac:spMkLst>
            <pc:docMk/>
            <pc:sldMk cId="3871786098" sldId="2147472282"/>
            <ac:spMk id="24" creationId="{58C8BF53-9709-5322-8F31-E806790981A6}"/>
          </ac:spMkLst>
        </pc:spChg>
        <pc:spChg chg="add mod">
          <ac:chgData name="Hillard, Laura" userId="fb6b425a-e8d9-473f-bcd9-e45358f5bb1d" providerId="ADAL" clId="{ED5B23FA-AB2C-498E-AB64-7CAD937BFAF4}" dt="2023-08-18T16:00:23.905" v="2490" actId="1076"/>
          <ac:spMkLst>
            <pc:docMk/>
            <pc:sldMk cId="3871786098" sldId="2147472282"/>
            <ac:spMk id="28" creationId="{6DB0F6C9-09BE-2DA2-059B-1783B4D8A09B}"/>
          </ac:spMkLst>
        </pc:spChg>
        <pc:grpChg chg="add mod">
          <ac:chgData name="Hillard, Laura" userId="fb6b425a-e8d9-473f-bcd9-e45358f5bb1d" providerId="ADAL" clId="{ED5B23FA-AB2C-498E-AB64-7CAD937BFAF4}" dt="2023-08-18T02:59:31.281" v="2024" actId="164"/>
          <ac:grpSpMkLst>
            <pc:docMk/>
            <pc:sldMk cId="3871786098" sldId="2147472282"/>
            <ac:grpSpMk id="17" creationId="{CC8D5F57-19E5-A6BD-1DAA-C8290E9A6B8F}"/>
          </ac:grpSpMkLst>
        </pc:grpChg>
        <pc:grpChg chg="add mod">
          <ac:chgData name="Hillard, Laura" userId="fb6b425a-e8d9-473f-bcd9-e45358f5bb1d" providerId="ADAL" clId="{ED5B23FA-AB2C-498E-AB64-7CAD937BFAF4}" dt="2023-08-18T02:59:26.464" v="2022" actId="164"/>
          <ac:grpSpMkLst>
            <pc:docMk/>
            <pc:sldMk cId="3871786098" sldId="2147472282"/>
            <ac:grpSpMk id="19" creationId="{01DD99B7-42F0-9EBD-36DC-A75C3522D77B}"/>
          </ac:grpSpMkLst>
        </pc:grpChg>
        <pc:grpChg chg="add mod">
          <ac:chgData name="Hillard, Laura" userId="fb6b425a-e8d9-473f-bcd9-e45358f5bb1d" providerId="ADAL" clId="{ED5B23FA-AB2C-498E-AB64-7CAD937BFAF4}" dt="2023-08-18T02:59:54.944" v="2028" actId="554"/>
          <ac:grpSpMkLst>
            <pc:docMk/>
            <pc:sldMk cId="3871786098" sldId="2147472282"/>
            <ac:grpSpMk id="22" creationId="{16A1508A-E685-26BA-D68A-5B4DA3AC85D8}"/>
          </ac:grpSpMkLst>
        </pc:grpChg>
        <pc:grpChg chg="add mod">
          <ac:chgData name="Hillard, Laura" userId="fb6b425a-e8d9-473f-bcd9-e45358f5bb1d" providerId="ADAL" clId="{ED5B23FA-AB2C-498E-AB64-7CAD937BFAF4}" dt="2023-08-18T02:59:26.464" v="2022" actId="164"/>
          <ac:grpSpMkLst>
            <pc:docMk/>
            <pc:sldMk cId="3871786098" sldId="2147472282"/>
            <ac:grpSpMk id="25" creationId="{150C7FEB-69AA-8862-A02D-7D64AF1895F9}"/>
          </ac:grpSpMkLst>
        </pc:grpChg>
        <pc:grpChg chg="add mod">
          <ac:chgData name="Hillard, Laura" userId="fb6b425a-e8d9-473f-bcd9-e45358f5bb1d" providerId="ADAL" clId="{ED5B23FA-AB2C-498E-AB64-7CAD937BFAF4}" dt="2023-08-18T02:59:31.281" v="2024" actId="164"/>
          <ac:grpSpMkLst>
            <pc:docMk/>
            <pc:sldMk cId="3871786098" sldId="2147472282"/>
            <ac:grpSpMk id="26" creationId="{B08D2472-2AED-CE96-D5CA-B65083DAD50C}"/>
          </ac:grpSpMkLst>
        </pc:grpChg>
        <pc:grpChg chg="add mod">
          <ac:chgData name="Hillard, Laura" userId="fb6b425a-e8d9-473f-bcd9-e45358f5bb1d" providerId="ADAL" clId="{ED5B23FA-AB2C-498E-AB64-7CAD937BFAF4}" dt="2023-08-18T02:59:49.020" v="2027" actId="164"/>
          <ac:grpSpMkLst>
            <pc:docMk/>
            <pc:sldMk cId="3871786098" sldId="2147472282"/>
            <ac:grpSpMk id="27" creationId="{79F119E2-ADF0-3705-B574-3D9F16166AB2}"/>
          </ac:grpSpMkLst>
        </pc:grpChg>
        <pc:picChg chg="add del mod">
          <ac:chgData name="Hillard, Laura" userId="fb6b425a-e8d9-473f-bcd9-e45358f5bb1d" providerId="ADAL" clId="{ED5B23FA-AB2C-498E-AB64-7CAD937BFAF4}" dt="2023-08-18T02:43:48.961" v="1134" actId="478"/>
          <ac:picMkLst>
            <pc:docMk/>
            <pc:sldMk cId="3871786098" sldId="2147472282"/>
            <ac:picMk id="2" creationId="{97CE437E-5CBA-EBEF-CDCC-818B7ECED0CA}"/>
          </ac:picMkLst>
        </pc:picChg>
        <pc:picChg chg="add mod">
          <ac:chgData name="Hillard, Laura" userId="fb6b425a-e8d9-473f-bcd9-e45358f5bb1d" providerId="ADAL" clId="{ED5B23FA-AB2C-498E-AB64-7CAD937BFAF4}" dt="2023-08-18T03:00:33.649" v="2035" actId="1076"/>
          <ac:picMkLst>
            <pc:docMk/>
            <pc:sldMk cId="3871786098" sldId="2147472282"/>
            <ac:picMk id="2050" creationId="{C5806295-1DE9-4E34-81F4-468FE2C5F378}"/>
          </ac:picMkLst>
        </pc:picChg>
        <pc:cxnChg chg="add mod">
          <ac:chgData name="Hillard, Laura" userId="fb6b425a-e8d9-473f-bcd9-e45358f5bb1d" providerId="ADAL" clId="{ED5B23FA-AB2C-498E-AB64-7CAD937BFAF4}" dt="2023-08-18T02:56:44.568" v="1780" actId="208"/>
          <ac:cxnSpMkLst>
            <pc:docMk/>
            <pc:sldMk cId="3871786098" sldId="2147472282"/>
            <ac:cxnSpMk id="8" creationId="{E22BF248-215D-8E6B-9F77-95BB3FF80B99}"/>
          </ac:cxnSpMkLst>
        </pc:cxnChg>
        <pc:cxnChg chg="add mod">
          <ac:chgData name="Hillard, Laura" userId="fb6b425a-e8d9-473f-bcd9-e45358f5bb1d" providerId="ADAL" clId="{ED5B23FA-AB2C-498E-AB64-7CAD937BFAF4}" dt="2023-08-18T02:58:47.635" v="2000" actId="164"/>
          <ac:cxnSpMkLst>
            <pc:docMk/>
            <pc:sldMk cId="3871786098" sldId="2147472282"/>
            <ac:cxnSpMk id="10" creationId="{927234D6-BCE0-7EFC-8FDB-FB665C64801D}"/>
          </ac:cxnSpMkLst>
        </pc:cxnChg>
        <pc:cxnChg chg="add del mod">
          <ac:chgData name="Hillard, Laura" userId="fb6b425a-e8d9-473f-bcd9-e45358f5bb1d" providerId="ADAL" clId="{ED5B23FA-AB2C-498E-AB64-7CAD937BFAF4}" dt="2023-08-18T02:59:20.066" v="2020" actId="478"/>
          <ac:cxnSpMkLst>
            <pc:docMk/>
            <pc:sldMk cId="3871786098" sldId="2147472282"/>
            <ac:cxnSpMk id="14" creationId="{94172A7D-18F9-0C11-F5B9-0AB39FDBE013}"/>
          </ac:cxnSpMkLst>
        </pc:cxnChg>
        <pc:cxnChg chg="add del mod">
          <ac:chgData name="Hillard, Laura" userId="fb6b425a-e8d9-473f-bcd9-e45358f5bb1d" providerId="ADAL" clId="{ED5B23FA-AB2C-498E-AB64-7CAD937BFAF4}" dt="2023-08-18T02:59:17.331" v="2019" actId="478"/>
          <ac:cxnSpMkLst>
            <pc:docMk/>
            <pc:sldMk cId="3871786098" sldId="2147472282"/>
            <ac:cxnSpMk id="15" creationId="{8A92D110-528E-6093-F2FA-A09DA69FAB0E}"/>
          </ac:cxnSpMkLst>
        </pc:cxnChg>
        <pc:cxnChg chg="mod">
          <ac:chgData name="Hillard, Laura" userId="fb6b425a-e8d9-473f-bcd9-e45358f5bb1d" providerId="ADAL" clId="{ED5B23FA-AB2C-498E-AB64-7CAD937BFAF4}" dt="2023-08-18T02:58:56.416" v="2005"/>
          <ac:cxnSpMkLst>
            <pc:docMk/>
            <pc:sldMk cId="3871786098" sldId="2147472282"/>
            <ac:cxnSpMk id="20" creationId="{4D2ED86D-270C-1B94-D573-7D0687601C80}"/>
          </ac:cxnSpMkLst>
        </pc:cxnChg>
        <pc:cxnChg chg="mod">
          <ac:chgData name="Hillard, Laura" userId="fb6b425a-e8d9-473f-bcd9-e45358f5bb1d" providerId="ADAL" clId="{ED5B23FA-AB2C-498E-AB64-7CAD937BFAF4}" dt="2023-08-18T02:59:49.020" v="2027" actId="164"/>
          <ac:cxnSpMkLst>
            <pc:docMk/>
            <pc:sldMk cId="3871786098" sldId="2147472282"/>
            <ac:cxnSpMk id="23" creationId="{C63F5011-BC15-B235-8608-33484C66DC81}"/>
          </ac:cxnSpMkLst>
        </pc:cxnChg>
      </pc:sldChg>
      <pc:sldChg chg="addSp delSp modSp add mod addCm">
        <pc:chgData name="Hillard, Laura" userId="fb6b425a-e8d9-473f-bcd9-e45358f5bb1d" providerId="ADAL" clId="{ED5B23FA-AB2C-498E-AB64-7CAD937BFAF4}" dt="2023-08-18T20:07:54.749" v="3766" actId="207"/>
        <pc:sldMkLst>
          <pc:docMk/>
          <pc:sldMk cId="1832112976" sldId="2147472283"/>
        </pc:sldMkLst>
        <pc:spChg chg="add del mod">
          <ac:chgData name="Hillard, Laura" userId="fb6b425a-e8d9-473f-bcd9-e45358f5bb1d" providerId="ADAL" clId="{ED5B23FA-AB2C-498E-AB64-7CAD937BFAF4}" dt="2023-08-18T02:47:24.920" v="1215"/>
          <ac:spMkLst>
            <pc:docMk/>
            <pc:sldMk cId="1832112976" sldId="2147472283"/>
            <ac:spMk id="2" creationId="{06364714-E916-97AB-3600-C143A54ACE92}"/>
          </ac:spMkLst>
        </pc:spChg>
        <pc:spChg chg="add mod">
          <ac:chgData name="Hillard, Laura" userId="fb6b425a-e8d9-473f-bcd9-e45358f5bb1d" providerId="ADAL" clId="{ED5B23FA-AB2C-498E-AB64-7CAD937BFAF4}" dt="2023-08-18T19:57:25.060" v="3638" actId="1035"/>
          <ac:spMkLst>
            <pc:docMk/>
            <pc:sldMk cId="1832112976" sldId="2147472283"/>
            <ac:spMk id="5" creationId="{DC5A22A2-178E-0033-53C2-2F4010C661E2}"/>
          </ac:spMkLst>
        </pc:spChg>
        <pc:spChg chg="add mod">
          <ac:chgData name="Hillard, Laura" userId="fb6b425a-e8d9-473f-bcd9-e45358f5bb1d" providerId="ADAL" clId="{ED5B23FA-AB2C-498E-AB64-7CAD937BFAF4}" dt="2023-08-18T19:57:01.635" v="3626" actId="164"/>
          <ac:spMkLst>
            <pc:docMk/>
            <pc:sldMk cId="1832112976" sldId="2147472283"/>
            <ac:spMk id="7" creationId="{28509A31-E969-97F9-D706-D864EC0B3656}"/>
          </ac:spMkLst>
        </pc:spChg>
        <pc:spChg chg="add mod">
          <ac:chgData name="Hillard, Laura" userId="fb6b425a-e8d9-473f-bcd9-e45358f5bb1d" providerId="ADAL" clId="{ED5B23FA-AB2C-498E-AB64-7CAD937BFAF4}" dt="2023-08-18T19:57:01.635" v="3626" actId="164"/>
          <ac:spMkLst>
            <pc:docMk/>
            <pc:sldMk cId="1832112976" sldId="2147472283"/>
            <ac:spMk id="8" creationId="{3DEBCA68-F51B-2270-1656-0ABEE8B45417}"/>
          </ac:spMkLst>
        </pc:spChg>
        <pc:spChg chg="add mod">
          <ac:chgData name="Hillard, Laura" userId="fb6b425a-e8d9-473f-bcd9-e45358f5bb1d" providerId="ADAL" clId="{ED5B23FA-AB2C-498E-AB64-7CAD937BFAF4}" dt="2023-08-18T19:57:05.222" v="3628" actId="164"/>
          <ac:spMkLst>
            <pc:docMk/>
            <pc:sldMk cId="1832112976" sldId="2147472283"/>
            <ac:spMk id="9" creationId="{B98CC188-4E37-5166-053A-DA91DBDBF221}"/>
          </ac:spMkLst>
        </pc:spChg>
        <pc:spChg chg="add mod">
          <ac:chgData name="Hillard, Laura" userId="fb6b425a-e8d9-473f-bcd9-e45358f5bb1d" providerId="ADAL" clId="{ED5B23FA-AB2C-498E-AB64-7CAD937BFAF4}" dt="2023-08-18T19:57:05.222" v="3628" actId="164"/>
          <ac:spMkLst>
            <pc:docMk/>
            <pc:sldMk cId="1832112976" sldId="2147472283"/>
            <ac:spMk id="10" creationId="{8E6333C2-D04B-80D8-9225-C2BAEC6EC446}"/>
          </ac:spMkLst>
        </pc:spChg>
        <pc:spChg chg="add del mod">
          <ac:chgData name="Hillard, Laura" userId="fb6b425a-e8d9-473f-bcd9-e45358f5bb1d" providerId="ADAL" clId="{ED5B23FA-AB2C-498E-AB64-7CAD937BFAF4}" dt="2023-08-18T03:16:06.123" v="2422" actId="478"/>
          <ac:spMkLst>
            <pc:docMk/>
            <pc:sldMk cId="1832112976" sldId="2147472283"/>
            <ac:spMk id="11" creationId="{0E40734D-3A2E-18BE-7D67-5E41570AB89A}"/>
          </ac:spMkLst>
        </pc:spChg>
        <pc:spChg chg="add del mod">
          <ac:chgData name="Hillard, Laura" userId="fb6b425a-e8d9-473f-bcd9-e45358f5bb1d" providerId="ADAL" clId="{ED5B23FA-AB2C-498E-AB64-7CAD937BFAF4}" dt="2023-08-18T03:16:08.262" v="2423" actId="478"/>
          <ac:spMkLst>
            <pc:docMk/>
            <pc:sldMk cId="1832112976" sldId="2147472283"/>
            <ac:spMk id="12" creationId="{1FF322DA-BE23-8241-3587-171777ADD20E}"/>
          </ac:spMkLst>
        </pc:spChg>
        <pc:spChg chg="add mod">
          <ac:chgData name="Hillard, Laura" userId="fb6b425a-e8d9-473f-bcd9-e45358f5bb1d" providerId="ADAL" clId="{ED5B23FA-AB2C-498E-AB64-7CAD937BFAF4}" dt="2023-08-18T19:57:10.159" v="3630" actId="164"/>
          <ac:spMkLst>
            <pc:docMk/>
            <pc:sldMk cId="1832112976" sldId="2147472283"/>
            <ac:spMk id="13" creationId="{14B71C66-94E3-04DB-0434-A7C83F95912F}"/>
          </ac:spMkLst>
        </pc:spChg>
        <pc:spChg chg="add mod">
          <ac:chgData name="Hillard, Laura" userId="fb6b425a-e8d9-473f-bcd9-e45358f5bb1d" providerId="ADAL" clId="{ED5B23FA-AB2C-498E-AB64-7CAD937BFAF4}" dt="2023-08-18T19:57:10.159" v="3630" actId="164"/>
          <ac:spMkLst>
            <pc:docMk/>
            <pc:sldMk cId="1832112976" sldId="2147472283"/>
            <ac:spMk id="14" creationId="{CD41D931-7D99-E649-B2F4-E46C68768F93}"/>
          </ac:spMkLst>
        </pc:spChg>
        <pc:spChg chg="add mod">
          <ac:chgData name="Hillard, Laura" userId="fb6b425a-e8d9-473f-bcd9-e45358f5bb1d" providerId="ADAL" clId="{ED5B23FA-AB2C-498E-AB64-7CAD937BFAF4}" dt="2023-08-18T20:07:54.749" v="3766" actId="207"/>
          <ac:spMkLst>
            <pc:docMk/>
            <pc:sldMk cId="1832112976" sldId="2147472283"/>
            <ac:spMk id="15" creationId="{700DB4B1-CFFF-2F7D-64D6-F08EB1A7815B}"/>
          </ac:spMkLst>
        </pc:spChg>
        <pc:spChg chg="add del mod">
          <ac:chgData name="Hillard, Laura" userId="fb6b425a-e8d9-473f-bcd9-e45358f5bb1d" providerId="ADAL" clId="{ED5B23FA-AB2C-498E-AB64-7CAD937BFAF4}" dt="2023-08-18T02:52:12.126" v="1488"/>
          <ac:spMkLst>
            <pc:docMk/>
            <pc:sldMk cId="1832112976" sldId="2147472283"/>
            <ac:spMk id="16" creationId="{1B8FBB19-D462-4942-4D25-AED682E2D12C}"/>
          </ac:spMkLst>
        </pc:spChg>
        <pc:spChg chg="del">
          <ac:chgData name="Hillard, Laura" userId="fb6b425a-e8d9-473f-bcd9-e45358f5bb1d" providerId="ADAL" clId="{ED5B23FA-AB2C-498E-AB64-7CAD937BFAF4}" dt="2023-08-18T02:50:01.029" v="1218" actId="478"/>
          <ac:spMkLst>
            <pc:docMk/>
            <pc:sldMk cId="1832112976" sldId="2147472283"/>
            <ac:spMk id="21" creationId="{B3FF01BC-F8B3-4484-B780-8B60D9126AB3}"/>
          </ac:spMkLst>
        </pc:spChg>
        <pc:spChg chg="del">
          <ac:chgData name="Hillard, Laura" userId="fb6b425a-e8d9-473f-bcd9-e45358f5bb1d" providerId="ADAL" clId="{ED5B23FA-AB2C-498E-AB64-7CAD937BFAF4}" dt="2023-08-18T02:50:01.029" v="1218" actId="478"/>
          <ac:spMkLst>
            <pc:docMk/>
            <pc:sldMk cId="1832112976" sldId="2147472283"/>
            <ac:spMk id="25" creationId="{89294D54-3BE7-4556-A4E0-5C1BAB628496}"/>
          </ac:spMkLst>
        </pc:spChg>
        <pc:spChg chg="del">
          <ac:chgData name="Hillard, Laura" userId="fb6b425a-e8d9-473f-bcd9-e45358f5bb1d" providerId="ADAL" clId="{ED5B23FA-AB2C-498E-AB64-7CAD937BFAF4}" dt="2023-08-18T02:50:01.029" v="1218" actId="478"/>
          <ac:spMkLst>
            <pc:docMk/>
            <pc:sldMk cId="1832112976" sldId="2147472283"/>
            <ac:spMk id="26" creationId="{B9577A39-2446-44B3-AE1D-83E1B4DF4776}"/>
          </ac:spMkLst>
        </pc:spChg>
        <pc:spChg chg="add del mod">
          <ac:chgData name="Hillard, Laura" userId="fb6b425a-e8d9-473f-bcd9-e45358f5bb1d" providerId="ADAL" clId="{ED5B23FA-AB2C-498E-AB64-7CAD937BFAF4}" dt="2023-08-18T02:52:12.126" v="1488"/>
          <ac:spMkLst>
            <pc:docMk/>
            <pc:sldMk cId="1832112976" sldId="2147472283"/>
            <ac:spMk id="27" creationId="{79754E62-4815-0A5E-91FF-EFA240AAFF5B}"/>
          </ac:spMkLst>
        </pc:spChg>
        <pc:spChg chg="add del mod">
          <ac:chgData name="Hillard, Laura" userId="fb6b425a-e8d9-473f-bcd9-e45358f5bb1d" providerId="ADAL" clId="{ED5B23FA-AB2C-498E-AB64-7CAD937BFAF4}" dt="2023-08-18T02:52:12.126" v="1488"/>
          <ac:spMkLst>
            <pc:docMk/>
            <pc:sldMk cId="1832112976" sldId="2147472283"/>
            <ac:spMk id="28" creationId="{7DFC30DC-7384-0E0E-9A8B-28E3936D66E1}"/>
          </ac:spMkLst>
        </pc:spChg>
        <pc:spChg chg="add del mod">
          <ac:chgData name="Hillard, Laura" userId="fb6b425a-e8d9-473f-bcd9-e45358f5bb1d" providerId="ADAL" clId="{ED5B23FA-AB2C-498E-AB64-7CAD937BFAF4}" dt="2023-08-18T02:52:12.126" v="1488"/>
          <ac:spMkLst>
            <pc:docMk/>
            <pc:sldMk cId="1832112976" sldId="2147472283"/>
            <ac:spMk id="29" creationId="{EC5B0783-8C6C-0AA1-3300-AF88CE91B3D3}"/>
          </ac:spMkLst>
        </pc:spChg>
        <pc:spChg chg="add del mod">
          <ac:chgData name="Hillard, Laura" userId="fb6b425a-e8d9-473f-bcd9-e45358f5bb1d" providerId="ADAL" clId="{ED5B23FA-AB2C-498E-AB64-7CAD937BFAF4}" dt="2023-08-18T02:52:12.126" v="1488"/>
          <ac:spMkLst>
            <pc:docMk/>
            <pc:sldMk cId="1832112976" sldId="2147472283"/>
            <ac:spMk id="30" creationId="{A097AB32-A903-02C7-9155-D2BDDB91F109}"/>
          </ac:spMkLst>
        </pc:spChg>
        <pc:spChg chg="add del mod">
          <ac:chgData name="Hillard, Laura" userId="fb6b425a-e8d9-473f-bcd9-e45358f5bb1d" providerId="ADAL" clId="{ED5B23FA-AB2C-498E-AB64-7CAD937BFAF4}" dt="2023-08-18T02:52:12.126" v="1488"/>
          <ac:spMkLst>
            <pc:docMk/>
            <pc:sldMk cId="1832112976" sldId="2147472283"/>
            <ac:spMk id="31" creationId="{41E361D6-3A42-0ED7-8A59-6C28A4E71629}"/>
          </ac:spMkLst>
        </pc:spChg>
        <pc:spChg chg="add del mod">
          <ac:chgData name="Hillard, Laura" userId="fb6b425a-e8d9-473f-bcd9-e45358f5bb1d" providerId="ADAL" clId="{ED5B23FA-AB2C-498E-AB64-7CAD937BFAF4}" dt="2023-08-18T02:52:12.126" v="1488"/>
          <ac:spMkLst>
            <pc:docMk/>
            <pc:sldMk cId="1832112976" sldId="2147472283"/>
            <ac:spMk id="33" creationId="{E4BD929A-449C-466A-C59F-33835ACB99A9}"/>
          </ac:spMkLst>
        </pc:spChg>
        <pc:spChg chg="add del mod">
          <ac:chgData name="Hillard, Laura" userId="fb6b425a-e8d9-473f-bcd9-e45358f5bb1d" providerId="ADAL" clId="{ED5B23FA-AB2C-498E-AB64-7CAD937BFAF4}" dt="2023-08-18T02:52:12.126" v="1488"/>
          <ac:spMkLst>
            <pc:docMk/>
            <pc:sldMk cId="1832112976" sldId="2147472283"/>
            <ac:spMk id="34" creationId="{FC67058F-9631-D54D-201E-11CA247497B1}"/>
          </ac:spMkLst>
        </pc:spChg>
        <pc:spChg chg="add del mod">
          <ac:chgData name="Hillard, Laura" userId="fb6b425a-e8d9-473f-bcd9-e45358f5bb1d" providerId="ADAL" clId="{ED5B23FA-AB2C-498E-AB64-7CAD937BFAF4}" dt="2023-08-18T02:52:12.126" v="1488"/>
          <ac:spMkLst>
            <pc:docMk/>
            <pc:sldMk cId="1832112976" sldId="2147472283"/>
            <ac:spMk id="35" creationId="{5DB072F7-2B8A-1033-9E08-106274E21F48}"/>
          </ac:spMkLst>
        </pc:spChg>
        <pc:spChg chg="add del mod">
          <ac:chgData name="Hillard, Laura" userId="fb6b425a-e8d9-473f-bcd9-e45358f5bb1d" providerId="ADAL" clId="{ED5B23FA-AB2C-498E-AB64-7CAD937BFAF4}" dt="2023-08-18T02:52:12.126" v="1488"/>
          <ac:spMkLst>
            <pc:docMk/>
            <pc:sldMk cId="1832112976" sldId="2147472283"/>
            <ac:spMk id="36" creationId="{F5BE8049-18FC-683B-7270-2A837BDD7601}"/>
          </ac:spMkLst>
        </pc:spChg>
        <pc:spChg chg="add del mod">
          <ac:chgData name="Hillard, Laura" userId="fb6b425a-e8d9-473f-bcd9-e45358f5bb1d" providerId="ADAL" clId="{ED5B23FA-AB2C-498E-AB64-7CAD937BFAF4}" dt="2023-08-18T02:52:12.126" v="1488"/>
          <ac:spMkLst>
            <pc:docMk/>
            <pc:sldMk cId="1832112976" sldId="2147472283"/>
            <ac:spMk id="37" creationId="{823808DC-07E0-C1ED-4AE2-6194C969F693}"/>
          </ac:spMkLst>
        </pc:spChg>
        <pc:spChg chg="add del mod">
          <ac:chgData name="Hillard, Laura" userId="fb6b425a-e8d9-473f-bcd9-e45358f5bb1d" providerId="ADAL" clId="{ED5B23FA-AB2C-498E-AB64-7CAD937BFAF4}" dt="2023-08-18T02:52:12.126" v="1488"/>
          <ac:spMkLst>
            <pc:docMk/>
            <pc:sldMk cId="1832112976" sldId="2147472283"/>
            <ac:spMk id="38" creationId="{BCAB8CA2-C3EE-0C8D-C571-A5C9DA622BB1}"/>
          </ac:spMkLst>
        </pc:spChg>
        <pc:spChg chg="add del mod">
          <ac:chgData name="Hillard, Laura" userId="fb6b425a-e8d9-473f-bcd9-e45358f5bb1d" providerId="ADAL" clId="{ED5B23FA-AB2C-498E-AB64-7CAD937BFAF4}" dt="2023-08-18T02:52:12.126" v="1488"/>
          <ac:spMkLst>
            <pc:docMk/>
            <pc:sldMk cId="1832112976" sldId="2147472283"/>
            <ac:spMk id="39" creationId="{DC3E43FD-D11A-7A69-1490-E7C7369A2C7A}"/>
          </ac:spMkLst>
        </pc:spChg>
        <pc:spChg chg="mod">
          <ac:chgData name="Hillard, Laura" userId="fb6b425a-e8d9-473f-bcd9-e45358f5bb1d" providerId="ADAL" clId="{ED5B23FA-AB2C-498E-AB64-7CAD937BFAF4}" dt="2023-08-18T02:52:08.315" v="1485"/>
          <ac:spMkLst>
            <pc:docMk/>
            <pc:sldMk cId="1832112976" sldId="2147472283"/>
            <ac:spMk id="41" creationId="{E6C2A533-4478-4F6E-9E38-4397CA8FC914}"/>
          </ac:spMkLst>
        </pc:spChg>
        <pc:spChg chg="mod">
          <ac:chgData name="Hillard, Laura" userId="fb6b425a-e8d9-473f-bcd9-e45358f5bb1d" providerId="ADAL" clId="{ED5B23FA-AB2C-498E-AB64-7CAD937BFAF4}" dt="2023-08-18T02:52:08.315" v="1485"/>
          <ac:spMkLst>
            <pc:docMk/>
            <pc:sldMk cId="1832112976" sldId="2147472283"/>
            <ac:spMk id="42" creationId="{A9F519FD-40DF-0781-5109-BF0A02918811}"/>
          </ac:spMkLst>
        </pc:spChg>
        <pc:spChg chg="mod">
          <ac:chgData name="Hillard, Laura" userId="fb6b425a-e8d9-473f-bcd9-e45358f5bb1d" providerId="ADAL" clId="{ED5B23FA-AB2C-498E-AB64-7CAD937BFAF4}" dt="2023-08-18T02:52:08.315" v="1485"/>
          <ac:spMkLst>
            <pc:docMk/>
            <pc:sldMk cId="1832112976" sldId="2147472283"/>
            <ac:spMk id="44" creationId="{9DC9F872-BEB1-1D22-0941-8E9C503FAFA5}"/>
          </ac:spMkLst>
        </pc:spChg>
        <pc:spChg chg="mod">
          <ac:chgData name="Hillard, Laura" userId="fb6b425a-e8d9-473f-bcd9-e45358f5bb1d" providerId="ADAL" clId="{ED5B23FA-AB2C-498E-AB64-7CAD937BFAF4}" dt="2023-08-18T02:52:08.315" v="1485"/>
          <ac:spMkLst>
            <pc:docMk/>
            <pc:sldMk cId="1832112976" sldId="2147472283"/>
            <ac:spMk id="45" creationId="{EB38E425-EC2A-B162-B374-BF9C5DA41439}"/>
          </ac:spMkLst>
        </pc:spChg>
        <pc:spChg chg="mod">
          <ac:chgData name="Hillard, Laura" userId="fb6b425a-e8d9-473f-bcd9-e45358f5bb1d" providerId="ADAL" clId="{ED5B23FA-AB2C-498E-AB64-7CAD937BFAF4}" dt="2023-08-18T02:52:08.315" v="1485"/>
          <ac:spMkLst>
            <pc:docMk/>
            <pc:sldMk cId="1832112976" sldId="2147472283"/>
            <ac:spMk id="47" creationId="{8A8BA2D9-0E81-B930-00EF-6B5D34DE2D08}"/>
          </ac:spMkLst>
        </pc:spChg>
        <pc:spChg chg="mod">
          <ac:chgData name="Hillard, Laura" userId="fb6b425a-e8d9-473f-bcd9-e45358f5bb1d" providerId="ADAL" clId="{ED5B23FA-AB2C-498E-AB64-7CAD937BFAF4}" dt="2023-08-18T02:52:08.315" v="1485"/>
          <ac:spMkLst>
            <pc:docMk/>
            <pc:sldMk cId="1832112976" sldId="2147472283"/>
            <ac:spMk id="48" creationId="{34CC133A-CC7F-2441-3A61-812302C2223F}"/>
          </ac:spMkLst>
        </pc:spChg>
        <pc:spChg chg="add del mod">
          <ac:chgData name="Hillard, Laura" userId="fb6b425a-e8d9-473f-bcd9-e45358f5bb1d" providerId="ADAL" clId="{ED5B23FA-AB2C-498E-AB64-7CAD937BFAF4}" dt="2023-08-18T02:52:12.126" v="1488"/>
          <ac:spMkLst>
            <pc:docMk/>
            <pc:sldMk cId="1832112976" sldId="2147472283"/>
            <ac:spMk id="49" creationId="{921D382C-6184-4EF5-2848-97FA3E08E46E}"/>
          </ac:spMkLst>
        </pc:spChg>
        <pc:spChg chg="add del mod">
          <ac:chgData name="Hillard, Laura" userId="fb6b425a-e8d9-473f-bcd9-e45358f5bb1d" providerId="ADAL" clId="{ED5B23FA-AB2C-498E-AB64-7CAD937BFAF4}" dt="2023-08-18T02:52:12.126" v="1488"/>
          <ac:spMkLst>
            <pc:docMk/>
            <pc:sldMk cId="1832112976" sldId="2147472283"/>
            <ac:spMk id="50" creationId="{D3FAE1C8-1AC1-CE13-4354-2C31A6175FAD}"/>
          </ac:spMkLst>
        </pc:spChg>
        <pc:spChg chg="add del mod">
          <ac:chgData name="Hillard, Laura" userId="fb6b425a-e8d9-473f-bcd9-e45358f5bb1d" providerId="ADAL" clId="{ED5B23FA-AB2C-498E-AB64-7CAD937BFAF4}" dt="2023-08-18T02:52:12.126" v="1488"/>
          <ac:spMkLst>
            <pc:docMk/>
            <pc:sldMk cId="1832112976" sldId="2147472283"/>
            <ac:spMk id="51" creationId="{6471522D-3160-9E01-EF99-2101DCAE3367}"/>
          </ac:spMkLst>
        </pc:spChg>
        <pc:spChg chg="add del mod">
          <ac:chgData name="Hillard, Laura" userId="fb6b425a-e8d9-473f-bcd9-e45358f5bb1d" providerId="ADAL" clId="{ED5B23FA-AB2C-498E-AB64-7CAD937BFAF4}" dt="2023-08-18T02:52:12.126" v="1488"/>
          <ac:spMkLst>
            <pc:docMk/>
            <pc:sldMk cId="1832112976" sldId="2147472283"/>
            <ac:spMk id="52" creationId="{A73BFC24-D6B8-C935-DDBB-C429BBF942AA}"/>
          </ac:spMkLst>
        </pc:spChg>
        <pc:spChg chg="mod">
          <ac:chgData name="Hillard, Laura" userId="fb6b425a-e8d9-473f-bcd9-e45358f5bb1d" providerId="ADAL" clId="{ED5B23FA-AB2C-498E-AB64-7CAD937BFAF4}" dt="2023-08-18T19:47:14.374" v="3327" actId="20577"/>
          <ac:spMkLst>
            <pc:docMk/>
            <pc:sldMk cId="1832112976" sldId="2147472283"/>
            <ac:spMk id="53" creationId="{FA1C4791-9F0C-4204-AE40-854BE98BF79B}"/>
          </ac:spMkLst>
        </pc:spChg>
        <pc:spChg chg="add del mod">
          <ac:chgData name="Hillard, Laura" userId="fb6b425a-e8d9-473f-bcd9-e45358f5bb1d" providerId="ADAL" clId="{ED5B23FA-AB2C-498E-AB64-7CAD937BFAF4}" dt="2023-08-18T02:52:39.965" v="1541" actId="478"/>
          <ac:spMkLst>
            <pc:docMk/>
            <pc:sldMk cId="1832112976" sldId="2147472283"/>
            <ac:spMk id="54" creationId="{7DE4C0A5-9025-690D-184B-61F7DD167610}"/>
          </ac:spMkLst>
        </pc:spChg>
        <pc:spChg chg="add mod">
          <ac:chgData name="Hillard, Laura" userId="fb6b425a-e8d9-473f-bcd9-e45358f5bb1d" providerId="ADAL" clId="{ED5B23FA-AB2C-498E-AB64-7CAD937BFAF4}" dt="2023-08-18T20:01:44.881" v="3673" actId="208"/>
          <ac:spMkLst>
            <pc:docMk/>
            <pc:sldMk cId="1832112976" sldId="2147472283"/>
            <ac:spMk id="60" creationId="{079FC25F-DA26-E24D-7041-FFF8B778DECE}"/>
          </ac:spMkLst>
        </pc:spChg>
        <pc:spChg chg="add del mod">
          <ac:chgData name="Hillard, Laura" userId="fb6b425a-e8d9-473f-bcd9-e45358f5bb1d" providerId="ADAL" clId="{ED5B23FA-AB2C-498E-AB64-7CAD937BFAF4}" dt="2023-08-18T02:52:46.898" v="1544" actId="478"/>
          <ac:spMkLst>
            <pc:docMk/>
            <pc:sldMk cId="1832112976" sldId="2147472283"/>
            <ac:spMk id="61" creationId="{C4E3B98C-060F-A251-0A0F-5D380875FF91}"/>
          </ac:spMkLst>
        </pc:spChg>
        <pc:spChg chg="add mod">
          <ac:chgData name="Hillard, Laura" userId="fb6b425a-e8d9-473f-bcd9-e45358f5bb1d" providerId="ADAL" clId="{ED5B23FA-AB2C-498E-AB64-7CAD937BFAF4}" dt="2023-08-18T20:04:06.958" v="3707" actId="12789"/>
          <ac:spMkLst>
            <pc:docMk/>
            <pc:sldMk cId="1832112976" sldId="2147472283"/>
            <ac:spMk id="62" creationId="{0204B409-2AC0-2134-9308-1B2753BCE2A9}"/>
          </ac:spMkLst>
        </pc:spChg>
        <pc:spChg chg="add del mod">
          <ac:chgData name="Hillard, Laura" userId="fb6b425a-e8d9-473f-bcd9-e45358f5bb1d" providerId="ADAL" clId="{ED5B23FA-AB2C-498E-AB64-7CAD937BFAF4}" dt="2023-08-18T02:52:39.965" v="1541" actId="478"/>
          <ac:spMkLst>
            <pc:docMk/>
            <pc:sldMk cId="1832112976" sldId="2147472283"/>
            <ac:spMk id="63" creationId="{1E836651-257C-F22E-6071-3C29E87023ED}"/>
          </ac:spMkLst>
        </pc:spChg>
        <pc:spChg chg="add mod">
          <ac:chgData name="Hillard, Laura" userId="fb6b425a-e8d9-473f-bcd9-e45358f5bb1d" providerId="ADAL" clId="{ED5B23FA-AB2C-498E-AB64-7CAD937BFAF4}" dt="2023-08-18T20:04:12.684" v="3709" actId="12789"/>
          <ac:spMkLst>
            <pc:docMk/>
            <pc:sldMk cId="1832112976" sldId="2147472283"/>
            <ac:spMk id="64" creationId="{4214A1D4-9B97-82BC-6E22-D12F9721976B}"/>
          </ac:spMkLst>
        </pc:spChg>
        <pc:spChg chg="add mod">
          <ac:chgData name="Hillard, Laura" userId="fb6b425a-e8d9-473f-bcd9-e45358f5bb1d" providerId="ADAL" clId="{ED5B23FA-AB2C-498E-AB64-7CAD937BFAF4}" dt="2023-08-18T20:01:51.223" v="3674" actId="207"/>
          <ac:spMkLst>
            <pc:docMk/>
            <pc:sldMk cId="1832112976" sldId="2147472283"/>
            <ac:spMk id="66" creationId="{F0E0083B-F90E-DE8A-9907-123F13610726}"/>
          </ac:spMkLst>
        </pc:spChg>
        <pc:spChg chg="add mod">
          <ac:chgData name="Hillard, Laura" userId="fb6b425a-e8d9-473f-bcd9-e45358f5bb1d" providerId="ADAL" clId="{ED5B23FA-AB2C-498E-AB64-7CAD937BFAF4}" dt="2023-08-18T20:02:03.389" v="3676" actId="207"/>
          <ac:spMkLst>
            <pc:docMk/>
            <pc:sldMk cId="1832112976" sldId="2147472283"/>
            <ac:spMk id="67" creationId="{03C5F874-9F98-E723-9388-160592ED7BA0}"/>
          </ac:spMkLst>
        </pc:spChg>
        <pc:spChg chg="add mod">
          <ac:chgData name="Hillard, Laura" userId="fb6b425a-e8d9-473f-bcd9-e45358f5bb1d" providerId="ADAL" clId="{ED5B23FA-AB2C-498E-AB64-7CAD937BFAF4}" dt="2023-08-18T20:02:17.722" v="3679" actId="1037"/>
          <ac:spMkLst>
            <pc:docMk/>
            <pc:sldMk cId="1832112976" sldId="2147472283"/>
            <ac:spMk id="68" creationId="{5090470B-35D5-E4B7-E57B-0D5CCA946EF3}"/>
          </ac:spMkLst>
        </pc:spChg>
        <pc:spChg chg="add mod">
          <ac:chgData name="Hillard, Laura" userId="fb6b425a-e8d9-473f-bcd9-e45358f5bb1d" providerId="ADAL" clId="{ED5B23FA-AB2C-498E-AB64-7CAD937BFAF4}" dt="2023-08-18T20:05:38.486" v="3747" actId="207"/>
          <ac:spMkLst>
            <pc:docMk/>
            <pc:sldMk cId="1832112976" sldId="2147472283"/>
            <ac:spMk id="69" creationId="{84F4D349-0EC4-5B79-ECE4-83D0D30B8E80}"/>
          </ac:spMkLst>
        </pc:spChg>
        <pc:spChg chg="add mod">
          <ac:chgData name="Hillard, Laura" userId="fb6b425a-e8d9-473f-bcd9-e45358f5bb1d" providerId="ADAL" clId="{ED5B23FA-AB2C-498E-AB64-7CAD937BFAF4}" dt="2023-08-18T20:02:09.242" v="3677" actId="207"/>
          <ac:spMkLst>
            <pc:docMk/>
            <pc:sldMk cId="1832112976" sldId="2147472283"/>
            <ac:spMk id="70" creationId="{3CF5A6DF-5F03-08AC-87D6-0DD9F999A66A}"/>
          </ac:spMkLst>
        </pc:spChg>
        <pc:spChg chg="add del mod">
          <ac:chgData name="Hillard, Laura" userId="fb6b425a-e8d9-473f-bcd9-e45358f5bb1d" providerId="ADAL" clId="{ED5B23FA-AB2C-498E-AB64-7CAD937BFAF4}" dt="2023-08-18T03:13:24.037" v="2270" actId="478"/>
          <ac:spMkLst>
            <pc:docMk/>
            <pc:sldMk cId="1832112976" sldId="2147472283"/>
            <ac:spMk id="71" creationId="{59AD7632-6284-2CDE-E89B-41A81EAC0778}"/>
          </ac:spMkLst>
        </pc:spChg>
        <pc:spChg chg="add del mod">
          <ac:chgData name="Hillard, Laura" userId="fb6b425a-e8d9-473f-bcd9-e45358f5bb1d" providerId="ADAL" clId="{ED5B23FA-AB2C-498E-AB64-7CAD937BFAF4}" dt="2023-08-18T02:52:44.864" v="1542" actId="478"/>
          <ac:spMkLst>
            <pc:docMk/>
            <pc:sldMk cId="1832112976" sldId="2147472283"/>
            <ac:spMk id="72" creationId="{5236D24C-BB38-4394-BB66-82CAC20FC5BE}"/>
          </ac:spMkLst>
        </pc:spChg>
        <pc:spChg chg="mod">
          <ac:chgData name="Hillard, Laura" userId="fb6b425a-e8d9-473f-bcd9-e45358f5bb1d" providerId="ADAL" clId="{ED5B23FA-AB2C-498E-AB64-7CAD937BFAF4}" dt="2023-08-18T02:52:25.663" v="1522" actId="208"/>
          <ac:spMkLst>
            <pc:docMk/>
            <pc:sldMk cId="1832112976" sldId="2147472283"/>
            <ac:spMk id="74" creationId="{29D7EC68-9FD0-385F-8119-A5015D00611D}"/>
          </ac:spMkLst>
        </pc:spChg>
        <pc:spChg chg="mod">
          <ac:chgData name="Hillard, Laura" userId="fb6b425a-e8d9-473f-bcd9-e45358f5bb1d" providerId="ADAL" clId="{ED5B23FA-AB2C-498E-AB64-7CAD937BFAF4}" dt="2023-08-18T02:52:25.663" v="1522" actId="208"/>
          <ac:spMkLst>
            <pc:docMk/>
            <pc:sldMk cId="1832112976" sldId="2147472283"/>
            <ac:spMk id="75" creationId="{0683DBBD-3E8F-D8E9-1E6E-C3134F1D9F00}"/>
          </ac:spMkLst>
        </pc:spChg>
        <pc:spChg chg="mod">
          <ac:chgData name="Hillard, Laura" userId="fb6b425a-e8d9-473f-bcd9-e45358f5bb1d" providerId="ADAL" clId="{ED5B23FA-AB2C-498E-AB64-7CAD937BFAF4}" dt="2023-08-18T02:52:25.663" v="1522" actId="208"/>
          <ac:spMkLst>
            <pc:docMk/>
            <pc:sldMk cId="1832112976" sldId="2147472283"/>
            <ac:spMk id="77" creationId="{89203D70-D954-9475-61BF-EB6F795142DE}"/>
          </ac:spMkLst>
        </pc:spChg>
        <pc:spChg chg="mod">
          <ac:chgData name="Hillard, Laura" userId="fb6b425a-e8d9-473f-bcd9-e45358f5bb1d" providerId="ADAL" clId="{ED5B23FA-AB2C-498E-AB64-7CAD937BFAF4}" dt="2023-08-18T02:52:25.663" v="1522" actId="208"/>
          <ac:spMkLst>
            <pc:docMk/>
            <pc:sldMk cId="1832112976" sldId="2147472283"/>
            <ac:spMk id="78" creationId="{A2EEDE74-D9C2-9DD9-9041-FDB39CCF82F7}"/>
          </ac:spMkLst>
        </pc:spChg>
        <pc:spChg chg="mod">
          <ac:chgData name="Hillard, Laura" userId="fb6b425a-e8d9-473f-bcd9-e45358f5bb1d" providerId="ADAL" clId="{ED5B23FA-AB2C-498E-AB64-7CAD937BFAF4}" dt="2023-08-18T02:52:25.663" v="1522" actId="208"/>
          <ac:spMkLst>
            <pc:docMk/>
            <pc:sldMk cId="1832112976" sldId="2147472283"/>
            <ac:spMk id="80" creationId="{B93AA7F3-D661-A77E-CE0B-4DD56A758308}"/>
          </ac:spMkLst>
        </pc:spChg>
        <pc:spChg chg="mod">
          <ac:chgData name="Hillard, Laura" userId="fb6b425a-e8d9-473f-bcd9-e45358f5bb1d" providerId="ADAL" clId="{ED5B23FA-AB2C-498E-AB64-7CAD937BFAF4}" dt="2023-08-18T02:52:25.663" v="1522" actId="208"/>
          <ac:spMkLst>
            <pc:docMk/>
            <pc:sldMk cId="1832112976" sldId="2147472283"/>
            <ac:spMk id="81" creationId="{49FE426D-DD85-E1EB-85E0-20E58B4A9F8C}"/>
          </ac:spMkLst>
        </pc:spChg>
        <pc:spChg chg="add del mod">
          <ac:chgData name="Hillard, Laura" userId="fb6b425a-e8d9-473f-bcd9-e45358f5bb1d" providerId="ADAL" clId="{ED5B23FA-AB2C-498E-AB64-7CAD937BFAF4}" dt="2023-08-18T02:52:39.965" v="1541" actId="478"/>
          <ac:spMkLst>
            <pc:docMk/>
            <pc:sldMk cId="1832112976" sldId="2147472283"/>
            <ac:spMk id="82" creationId="{B81CA70D-B646-ED04-EC01-D65F1AE74031}"/>
          </ac:spMkLst>
        </pc:spChg>
        <pc:spChg chg="add mod">
          <ac:chgData name="Hillard, Laura" userId="fb6b425a-e8d9-473f-bcd9-e45358f5bb1d" providerId="ADAL" clId="{ED5B23FA-AB2C-498E-AB64-7CAD937BFAF4}" dt="2023-08-18T20:05:17.794" v="3721" actId="14100"/>
          <ac:spMkLst>
            <pc:docMk/>
            <pc:sldMk cId="1832112976" sldId="2147472283"/>
            <ac:spMk id="83" creationId="{F5A343A5-F795-F0FF-F006-5DD700017695}"/>
          </ac:spMkLst>
        </pc:spChg>
        <pc:spChg chg="add mod">
          <ac:chgData name="Hillard, Laura" userId="fb6b425a-e8d9-473f-bcd9-e45358f5bb1d" providerId="ADAL" clId="{ED5B23FA-AB2C-498E-AB64-7CAD937BFAF4}" dt="2023-08-18T20:06:48.573" v="3752" actId="20577"/>
          <ac:spMkLst>
            <pc:docMk/>
            <pc:sldMk cId="1832112976" sldId="2147472283"/>
            <ac:spMk id="84" creationId="{A9835EEB-A457-7B6C-5AAD-C6D580801759}"/>
          </ac:spMkLst>
        </pc:spChg>
        <pc:spChg chg="add mod">
          <ac:chgData name="Hillard, Laura" userId="fb6b425a-e8d9-473f-bcd9-e45358f5bb1d" providerId="ADAL" clId="{ED5B23FA-AB2C-498E-AB64-7CAD937BFAF4}" dt="2023-08-18T20:07:21.040" v="3762" actId="20577"/>
          <ac:spMkLst>
            <pc:docMk/>
            <pc:sldMk cId="1832112976" sldId="2147472283"/>
            <ac:spMk id="85" creationId="{E6E5DFAE-7601-B460-4410-3854C5951E35}"/>
          </ac:spMkLst>
        </pc:spChg>
        <pc:spChg chg="mod">
          <ac:chgData name="Hillard, Laura" userId="fb6b425a-e8d9-473f-bcd9-e45358f5bb1d" providerId="ADAL" clId="{ED5B23FA-AB2C-498E-AB64-7CAD937BFAF4}" dt="2023-08-18T03:12:21.620" v="2255"/>
          <ac:spMkLst>
            <pc:docMk/>
            <pc:sldMk cId="1832112976" sldId="2147472283"/>
            <ac:spMk id="87" creationId="{19656537-19DB-8612-37FE-251AD9670E0D}"/>
          </ac:spMkLst>
        </pc:spChg>
        <pc:spChg chg="mod">
          <ac:chgData name="Hillard, Laura" userId="fb6b425a-e8d9-473f-bcd9-e45358f5bb1d" providerId="ADAL" clId="{ED5B23FA-AB2C-498E-AB64-7CAD937BFAF4}" dt="2023-08-18T03:12:21.620" v="2255"/>
          <ac:spMkLst>
            <pc:docMk/>
            <pc:sldMk cId="1832112976" sldId="2147472283"/>
            <ac:spMk id="88" creationId="{C1645086-5E1A-B431-3415-297F09CD1F6E}"/>
          </ac:spMkLst>
        </pc:spChg>
        <pc:spChg chg="mod topLvl">
          <ac:chgData name="Hillard, Laura" userId="fb6b425a-e8d9-473f-bcd9-e45358f5bb1d" providerId="ADAL" clId="{ED5B23FA-AB2C-498E-AB64-7CAD937BFAF4}" dt="2023-08-18T20:06:00.098" v="3751" actId="207"/>
          <ac:spMkLst>
            <pc:docMk/>
            <pc:sldMk cId="1832112976" sldId="2147472283"/>
            <ac:spMk id="90" creationId="{19E55E4B-394C-07C7-0B2C-3FC35A153EB5}"/>
          </ac:spMkLst>
        </pc:spChg>
        <pc:spChg chg="del mod topLvl">
          <ac:chgData name="Hillard, Laura" userId="fb6b425a-e8d9-473f-bcd9-e45358f5bb1d" providerId="ADAL" clId="{ED5B23FA-AB2C-498E-AB64-7CAD937BFAF4}" dt="2023-08-18T03:12:39.130" v="2262" actId="478"/>
          <ac:spMkLst>
            <pc:docMk/>
            <pc:sldMk cId="1832112976" sldId="2147472283"/>
            <ac:spMk id="91" creationId="{52638056-5CDC-8295-8976-CE2E92ABC6DA}"/>
          </ac:spMkLst>
        </pc:spChg>
        <pc:spChg chg="add mod">
          <ac:chgData name="Hillard, Laura" userId="fb6b425a-e8d9-473f-bcd9-e45358f5bb1d" providerId="ADAL" clId="{ED5B23FA-AB2C-498E-AB64-7CAD937BFAF4}" dt="2023-08-18T19:57:20.831" v="3632" actId="164"/>
          <ac:spMkLst>
            <pc:docMk/>
            <pc:sldMk cId="1832112976" sldId="2147472283"/>
            <ac:spMk id="95" creationId="{AF96DCA7-57F6-4005-9E0D-E1C264DFD4E1}"/>
          </ac:spMkLst>
        </pc:spChg>
        <pc:spChg chg="add mod">
          <ac:chgData name="Hillard, Laura" userId="fb6b425a-e8d9-473f-bcd9-e45358f5bb1d" providerId="ADAL" clId="{ED5B23FA-AB2C-498E-AB64-7CAD937BFAF4}" dt="2023-08-18T19:57:20.831" v="3632" actId="164"/>
          <ac:spMkLst>
            <pc:docMk/>
            <pc:sldMk cId="1832112976" sldId="2147472283"/>
            <ac:spMk id="96" creationId="{16503E46-83C8-255A-8959-1146BF6A4C1A}"/>
          </ac:spMkLst>
        </pc:spChg>
        <pc:spChg chg="add mod ord">
          <ac:chgData name="Hillard, Laura" userId="fb6b425a-e8d9-473f-bcd9-e45358f5bb1d" providerId="ADAL" clId="{ED5B23FA-AB2C-498E-AB64-7CAD937BFAF4}" dt="2023-08-18T19:52:17.229" v="3592" actId="1036"/>
          <ac:spMkLst>
            <pc:docMk/>
            <pc:sldMk cId="1832112976" sldId="2147472283"/>
            <ac:spMk id="97" creationId="{C8D49F16-AC46-1591-7CC6-ECC1C7346DE3}"/>
          </ac:spMkLst>
        </pc:spChg>
        <pc:grpChg chg="add del mod">
          <ac:chgData name="Hillard, Laura" userId="fb6b425a-e8d9-473f-bcd9-e45358f5bb1d" providerId="ADAL" clId="{ED5B23FA-AB2C-498E-AB64-7CAD937BFAF4}" dt="2023-08-18T02:52:12.126" v="1488"/>
          <ac:grpSpMkLst>
            <pc:docMk/>
            <pc:sldMk cId="1832112976" sldId="2147472283"/>
            <ac:grpSpMk id="40" creationId="{DF3604FF-5A48-55C0-5817-6AC966377159}"/>
          </ac:grpSpMkLst>
        </pc:grpChg>
        <pc:grpChg chg="add del mod">
          <ac:chgData name="Hillard, Laura" userId="fb6b425a-e8d9-473f-bcd9-e45358f5bb1d" providerId="ADAL" clId="{ED5B23FA-AB2C-498E-AB64-7CAD937BFAF4}" dt="2023-08-18T02:52:12.126" v="1488"/>
          <ac:grpSpMkLst>
            <pc:docMk/>
            <pc:sldMk cId="1832112976" sldId="2147472283"/>
            <ac:grpSpMk id="43" creationId="{F6E7D9AB-8FDE-4CD8-B026-403CD3ED21F5}"/>
          </ac:grpSpMkLst>
        </pc:grpChg>
        <pc:grpChg chg="add del mod">
          <ac:chgData name="Hillard, Laura" userId="fb6b425a-e8d9-473f-bcd9-e45358f5bb1d" providerId="ADAL" clId="{ED5B23FA-AB2C-498E-AB64-7CAD937BFAF4}" dt="2023-08-18T02:52:12.126" v="1488"/>
          <ac:grpSpMkLst>
            <pc:docMk/>
            <pc:sldMk cId="1832112976" sldId="2147472283"/>
            <ac:grpSpMk id="46" creationId="{2BBACC05-10E7-F472-7729-7CCB9E447199}"/>
          </ac:grpSpMkLst>
        </pc:grpChg>
        <pc:grpChg chg="add del mod">
          <ac:chgData name="Hillard, Laura" userId="fb6b425a-e8d9-473f-bcd9-e45358f5bb1d" providerId="ADAL" clId="{ED5B23FA-AB2C-498E-AB64-7CAD937BFAF4}" dt="2023-08-18T03:13:19.712" v="2269" actId="478"/>
          <ac:grpSpMkLst>
            <pc:docMk/>
            <pc:sldMk cId="1832112976" sldId="2147472283"/>
            <ac:grpSpMk id="73" creationId="{38006C97-BDEC-22AC-85BC-E37BD577E88D}"/>
          </ac:grpSpMkLst>
        </pc:grpChg>
        <pc:grpChg chg="add del mod">
          <ac:chgData name="Hillard, Laura" userId="fb6b425a-e8d9-473f-bcd9-e45358f5bb1d" providerId="ADAL" clId="{ED5B23FA-AB2C-498E-AB64-7CAD937BFAF4}" dt="2023-08-18T03:13:26.408" v="2271" actId="478"/>
          <ac:grpSpMkLst>
            <pc:docMk/>
            <pc:sldMk cId="1832112976" sldId="2147472283"/>
            <ac:grpSpMk id="76" creationId="{57D0C3E3-5092-44A1-D991-E1CB7A6353EE}"/>
          </ac:grpSpMkLst>
        </pc:grpChg>
        <pc:grpChg chg="add del mod">
          <ac:chgData name="Hillard, Laura" userId="fb6b425a-e8d9-473f-bcd9-e45358f5bb1d" providerId="ADAL" clId="{ED5B23FA-AB2C-498E-AB64-7CAD937BFAF4}" dt="2023-08-18T02:52:39.965" v="1541" actId="478"/>
          <ac:grpSpMkLst>
            <pc:docMk/>
            <pc:sldMk cId="1832112976" sldId="2147472283"/>
            <ac:grpSpMk id="79" creationId="{E1159E78-2B7C-372D-C44B-ACA85BD6C197}"/>
          </ac:grpSpMkLst>
        </pc:grpChg>
        <pc:grpChg chg="add del mod">
          <ac:chgData name="Hillard, Laura" userId="fb6b425a-e8d9-473f-bcd9-e45358f5bb1d" providerId="ADAL" clId="{ED5B23FA-AB2C-498E-AB64-7CAD937BFAF4}" dt="2023-08-18T03:12:24.214" v="2256"/>
          <ac:grpSpMkLst>
            <pc:docMk/>
            <pc:sldMk cId="1832112976" sldId="2147472283"/>
            <ac:grpSpMk id="86" creationId="{FD396AB6-F0D2-887A-881D-DCE3930BD649}"/>
          </ac:grpSpMkLst>
        </pc:grpChg>
        <pc:grpChg chg="add del mod">
          <ac:chgData name="Hillard, Laura" userId="fb6b425a-e8d9-473f-bcd9-e45358f5bb1d" providerId="ADAL" clId="{ED5B23FA-AB2C-498E-AB64-7CAD937BFAF4}" dt="2023-08-18T03:12:39.130" v="2262" actId="478"/>
          <ac:grpSpMkLst>
            <pc:docMk/>
            <pc:sldMk cId="1832112976" sldId="2147472283"/>
            <ac:grpSpMk id="89" creationId="{8EAEAD56-7A7B-C99A-A7C7-BDEF4A7386A8}"/>
          </ac:grpSpMkLst>
        </pc:grpChg>
        <pc:grpChg chg="add mod">
          <ac:chgData name="Hillard, Laura" userId="fb6b425a-e8d9-473f-bcd9-e45358f5bb1d" providerId="ADAL" clId="{ED5B23FA-AB2C-498E-AB64-7CAD937BFAF4}" dt="2023-08-18T20:05:52.986" v="3750" actId="1076"/>
          <ac:grpSpMkLst>
            <pc:docMk/>
            <pc:sldMk cId="1832112976" sldId="2147472283"/>
            <ac:grpSpMk id="94" creationId="{31B437A9-C717-0F8A-3A51-EFE96FED9B32}"/>
          </ac:grpSpMkLst>
        </pc:grpChg>
        <pc:grpChg chg="add mod">
          <ac:chgData name="Hillard, Laura" userId="fb6b425a-e8d9-473f-bcd9-e45358f5bb1d" providerId="ADAL" clId="{ED5B23FA-AB2C-498E-AB64-7CAD937BFAF4}" dt="2023-08-18T19:56:41.641" v="3623" actId="164"/>
          <ac:grpSpMkLst>
            <pc:docMk/>
            <pc:sldMk cId="1832112976" sldId="2147472283"/>
            <ac:grpSpMk id="98" creationId="{B56615D5-05B0-9A4D-985B-5ACE5BA63550}"/>
          </ac:grpSpMkLst>
        </pc:grpChg>
        <pc:grpChg chg="add mod">
          <ac:chgData name="Hillard, Laura" userId="fb6b425a-e8d9-473f-bcd9-e45358f5bb1d" providerId="ADAL" clId="{ED5B23FA-AB2C-498E-AB64-7CAD937BFAF4}" dt="2023-08-18T19:57:01.635" v="3626" actId="164"/>
          <ac:grpSpMkLst>
            <pc:docMk/>
            <pc:sldMk cId="1832112976" sldId="2147472283"/>
            <ac:grpSpMk id="99" creationId="{C8C7A9A8-9C43-5AB7-4210-20E98AF8DCB4}"/>
          </ac:grpSpMkLst>
        </pc:grpChg>
        <pc:grpChg chg="add mod">
          <ac:chgData name="Hillard, Laura" userId="fb6b425a-e8d9-473f-bcd9-e45358f5bb1d" providerId="ADAL" clId="{ED5B23FA-AB2C-498E-AB64-7CAD937BFAF4}" dt="2023-08-18T19:57:57.956" v="3656" actId="465"/>
          <ac:grpSpMkLst>
            <pc:docMk/>
            <pc:sldMk cId="1832112976" sldId="2147472283"/>
            <ac:grpSpMk id="100" creationId="{C8DEB876-5EE2-E5C5-BC15-9F8156B439AE}"/>
          </ac:grpSpMkLst>
        </pc:grpChg>
        <pc:grpChg chg="add mod">
          <ac:chgData name="Hillard, Laura" userId="fb6b425a-e8d9-473f-bcd9-e45358f5bb1d" providerId="ADAL" clId="{ED5B23FA-AB2C-498E-AB64-7CAD937BFAF4}" dt="2023-08-18T19:57:57.956" v="3656" actId="465"/>
          <ac:grpSpMkLst>
            <pc:docMk/>
            <pc:sldMk cId="1832112976" sldId="2147472283"/>
            <ac:grpSpMk id="101" creationId="{04E738E0-4733-70D4-F6B0-DF9BBD9CE43A}"/>
          </ac:grpSpMkLst>
        </pc:grpChg>
        <pc:grpChg chg="add mod">
          <ac:chgData name="Hillard, Laura" userId="fb6b425a-e8d9-473f-bcd9-e45358f5bb1d" providerId="ADAL" clId="{ED5B23FA-AB2C-498E-AB64-7CAD937BFAF4}" dt="2023-08-18T19:57:33.139" v="3655" actId="1035"/>
          <ac:grpSpMkLst>
            <pc:docMk/>
            <pc:sldMk cId="1832112976" sldId="2147472283"/>
            <ac:grpSpMk id="102" creationId="{E103BE3A-26B7-4F65-7B86-B006B9A26B7D}"/>
          </ac:grpSpMkLst>
        </pc:grpChg>
        <pc:grpChg chg="add mod">
          <ac:chgData name="Hillard, Laura" userId="fb6b425a-e8d9-473f-bcd9-e45358f5bb1d" providerId="ADAL" clId="{ED5B23FA-AB2C-498E-AB64-7CAD937BFAF4}" dt="2023-08-18T20:01:32.298" v="3672" actId="164"/>
          <ac:grpSpMkLst>
            <pc:docMk/>
            <pc:sldMk cId="1832112976" sldId="2147472283"/>
            <ac:grpSpMk id="111" creationId="{84186FFF-E58F-DF8E-2125-27B56609184E}"/>
          </ac:grpSpMkLst>
        </pc:grpChg>
        <pc:picChg chg="add del mod">
          <ac:chgData name="Hillard, Laura" userId="fb6b425a-e8d9-473f-bcd9-e45358f5bb1d" providerId="ADAL" clId="{ED5B23FA-AB2C-498E-AB64-7CAD937BFAF4}" dt="2023-08-18T02:47:24.920" v="1215"/>
          <ac:picMkLst>
            <pc:docMk/>
            <pc:sldMk cId="1832112976" sldId="2147472283"/>
            <ac:picMk id="3" creationId="{C71BC860-B27B-7431-9169-2AE7545A14EB}"/>
          </ac:picMkLst>
        </pc:picChg>
        <pc:picChg chg="add del mod">
          <ac:chgData name="Hillard, Laura" userId="fb6b425a-e8d9-473f-bcd9-e45358f5bb1d" providerId="ADAL" clId="{ED5B23FA-AB2C-498E-AB64-7CAD937BFAF4}" dt="2023-08-18T03:12:20.787" v="2254" actId="478"/>
          <ac:picMkLst>
            <pc:docMk/>
            <pc:sldMk cId="1832112976" sldId="2147472283"/>
            <ac:picMk id="6" creationId="{60763E32-8AD5-7CA8-3976-A6C8AB723FF0}"/>
          </ac:picMkLst>
        </pc:picChg>
        <pc:picChg chg="del">
          <ac:chgData name="Hillard, Laura" userId="fb6b425a-e8d9-473f-bcd9-e45358f5bb1d" providerId="ADAL" clId="{ED5B23FA-AB2C-498E-AB64-7CAD937BFAF4}" dt="2023-08-18T02:49:57.565" v="1217" actId="478"/>
          <ac:picMkLst>
            <pc:docMk/>
            <pc:sldMk cId="1832112976" sldId="2147472283"/>
            <ac:picMk id="19" creationId="{2D844E89-709D-4C4D-966F-75C675B1C0B6}"/>
          </ac:picMkLst>
        </pc:picChg>
        <pc:picChg chg="add mod ord">
          <ac:chgData name="Hillard, Laura" userId="fb6b425a-e8d9-473f-bcd9-e45358f5bb1d" providerId="ADAL" clId="{ED5B23FA-AB2C-498E-AB64-7CAD937BFAF4}" dt="2023-08-18T03:21:28.576" v="2470" actId="164"/>
          <ac:picMkLst>
            <pc:docMk/>
            <pc:sldMk cId="1832112976" sldId="2147472283"/>
            <ac:picMk id="93" creationId="{10485E57-9BD8-7834-87D6-8676B1D6D71E}"/>
          </ac:picMkLst>
        </pc:picChg>
        <pc:picChg chg="add mod">
          <ac:chgData name="Hillard, Laura" userId="fb6b425a-e8d9-473f-bcd9-e45358f5bb1d" providerId="ADAL" clId="{ED5B23FA-AB2C-498E-AB64-7CAD937BFAF4}" dt="2023-08-18T20:01:44.881" v="3673" actId="208"/>
          <ac:picMkLst>
            <pc:docMk/>
            <pc:sldMk cId="1832112976" sldId="2147472283"/>
            <ac:picMk id="104" creationId="{2CD9CB1F-67FB-A555-3EEF-0B18F59047CF}"/>
          </ac:picMkLst>
        </pc:picChg>
        <pc:picChg chg="add mod">
          <ac:chgData name="Hillard, Laura" userId="fb6b425a-e8d9-473f-bcd9-e45358f5bb1d" providerId="ADAL" clId="{ED5B23FA-AB2C-498E-AB64-7CAD937BFAF4}" dt="2023-08-18T20:04:06.958" v="3707" actId="12789"/>
          <ac:picMkLst>
            <pc:docMk/>
            <pc:sldMk cId="1832112976" sldId="2147472283"/>
            <ac:picMk id="106" creationId="{E2876CB8-B76D-5525-B172-6C808D16B62F}"/>
          </ac:picMkLst>
        </pc:picChg>
        <pc:picChg chg="add del mod">
          <ac:chgData name="Hillard, Laura" userId="fb6b425a-e8d9-473f-bcd9-e45358f5bb1d" providerId="ADAL" clId="{ED5B23FA-AB2C-498E-AB64-7CAD937BFAF4}" dt="2023-08-18T20:04:17.718" v="3710" actId="478"/>
          <ac:picMkLst>
            <pc:docMk/>
            <pc:sldMk cId="1832112976" sldId="2147472283"/>
            <ac:picMk id="108" creationId="{A8DAAA36-09B2-FC17-1FCC-844C703D44B1}"/>
          </ac:picMkLst>
        </pc:picChg>
        <pc:picChg chg="add mod">
          <ac:chgData name="Hillard, Laura" userId="fb6b425a-e8d9-473f-bcd9-e45358f5bb1d" providerId="ADAL" clId="{ED5B23FA-AB2C-498E-AB64-7CAD937BFAF4}" dt="2023-08-18T20:04:12.684" v="3709" actId="12789"/>
          <ac:picMkLst>
            <pc:docMk/>
            <pc:sldMk cId="1832112976" sldId="2147472283"/>
            <ac:picMk id="110" creationId="{09CA37BC-C203-B5F4-E3B4-1D3B3A469EBC}"/>
          </ac:picMkLst>
        </pc:picChg>
        <pc:cxnChg chg="add del mod">
          <ac:chgData name="Hillard, Laura" userId="fb6b425a-e8d9-473f-bcd9-e45358f5bb1d" providerId="ADAL" clId="{ED5B23FA-AB2C-498E-AB64-7CAD937BFAF4}" dt="2023-08-18T02:52:12.126" v="1488"/>
          <ac:cxnSpMkLst>
            <pc:docMk/>
            <pc:sldMk cId="1832112976" sldId="2147472283"/>
            <ac:cxnSpMk id="17" creationId="{710CA467-191C-7DF4-FF05-6F1283FB2010}"/>
          </ac:cxnSpMkLst>
        </pc:cxnChg>
        <pc:cxnChg chg="add del mod">
          <ac:chgData name="Hillard, Laura" userId="fb6b425a-e8d9-473f-bcd9-e45358f5bb1d" providerId="ADAL" clId="{ED5B23FA-AB2C-498E-AB64-7CAD937BFAF4}" dt="2023-08-18T02:52:12.126" v="1488"/>
          <ac:cxnSpMkLst>
            <pc:docMk/>
            <pc:sldMk cId="1832112976" sldId="2147472283"/>
            <ac:cxnSpMk id="18" creationId="{93CE54EB-26DD-D62C-371D-59E36D47A698}"/>
          </ac:cxnSpMkLst>
        </pc:cxnChg>
        <pc:cxnChg chg="add del mod">
          <ac:chgData name="Hillard, Laura" userId="fb6b425a-e8d9-473f-bcd9-e45358f5bb1d" providerId="ADAL" clId="{ED5B23FA-AB2C-498E-AB64-7CAD937BFAF4}" dt="2023-08-18T02:52:12.126" v="1488"/>
          <ac:cxnSpMkLst>
            <pc:docMk/>
            <pc:sldMk cId="1832112976" sldId="2147472283"/>
            <ac:cxnSpMk id="20" creationId="{C2C3F4A1-2599-81B7-E092-52BCF5B6BABD}"/>
          </ac:cxnSpMkLst>
        </pc:cxnChg>
        <pc:cxnChg chg="add del mod">
          <ac:chgData name="Hillard, Laura" userId="fb6b425a-e8d9-473f-bcd9-e45358f5bb1d" providerId="ADAL" clId="{ED5B23FA-AB2C-498E-AB64-7CAD937BFAF4}" dt="2023-08-18T02:52:12.126" v="1488"/>
          <ac:cxnSpMkLst>
            <pc:docMk/>
            <pc:sldMk cId="1832112976" sldId="2147472283"/>
            <ac:cxnSpMk id="22" creationId="{EB70E5DC-856F-157A-57C4-07E17565E016}"/>
          </ac:cxnSpMkLst>
        </pc:cxnChg>
        <pc:cxnChg chg="add del mod">
          <ac:chgData name="Hillard, Laura" userId="fb6b425a-e8d9-473f-bcd9-e45358f5bb1d" providerId="ADAL" clId="{ED5B23FA-AB2C-498E-AB64-7CAD937BFAF4}" dt="2023-08-18T02:52:12.126" v="1488"/>
          <ac:cxnSpMkLst>
            <pc:docMk/>
            <pc:sldMk cId="1832112976" sldId="2147472283"/>
            <ac:cxnSpMk id="24" creationId="{C166CC5B-22E1-13DF-8B9C-1F854CF89A01}"/>
          </ac:cxnSpMkLst>
        </pc:cxnChg>
        <pc:cxnChg chg="add del mod">
          <ac:chgData name="Hillard, Laura" userId="fb6b425a-e8d9-473f-bcd9-e45358f5bb1d" providerId="ADAL" clId="{ED5B23FA-AB2C-498E-AB64-7CAD937BFAF4}" dt="2023-08-18T02:52:12.126" v="1488"/>
          <ac:cxnSpMkLst>
            <pc:docMk/>
            <pc:sldMk cId="1832112976" sldId="2147472283"/>
            <ac:cxnSpMk id="32" creationId="{B0396673-96AF-AE83-5B3F-5A0E91E7F349}"/>
          </ac:cxnSpMkLst>
        </pc:cxnChg>
        <pc:cxnChg chg="add mod">
          <ac:chgData name="Hillard, Laura" userId="fb6b425a-e8d9-473f-bcd9-e45358f5bb1d" providerId="ADAL" clId="{ED5B23FA-AB2C-498E-AB64-7CAD937BFAF4}" dt="2023-08-18T20:01:44.881" v="3673" actId="208"/>
          <ac:cxnSpMkLst>
            <pc:docMk/>
            <pc:sldMk cId="1832112976" sldId="2147472283"/>
            <ac:cxnSpMk id="55" creationId="{FC50B93C-489C-6BCB-909F-B21C88CA6A07}"/>
          </ac:cxnSpMkLst>
        </pc:cxnChg>
        <pc:cxnChg chg="add del mod">
          <ac:chgData name="Hillard, Laura" userId="fb6b425a-e8d9-473f-bcd9-e45358f5bb1d" providerId="ADAL" clId="{ED5B23FA-AB2C-498E-AB64-7CAD937BFAF4}" dt="2023-08-18T02:52:48.943" v="1545" actId="478"/>
          <ac:cxnSpMkLst>
            <pc:docMk/>
            <pc:sldMk cId="1832112976" sldId="2147472283"/>
            <ac:cxnSpMk id="56" creationId="{1159F95F-6B27-4C38-ADBC-9731EF6F57C3}"/>
          </ac:cxnSpMkLst>
        </pc:cxnChg>
        <pc:cxnChg chg="add mod">
          <ac:chgData name="Hillard, Laura" userId="fb6b425a-e8d9-473f-bcd9-e45358f5bb1d" providerId="ADAL" clId="{ED5B23FA-AB2C-498E-AB64-7CAD937BFAF4}" dt="2023-08-18T20:01:44.881" v="3673" actId="208"/>
          <ac:cxnSpMkLst>
            <pc:docMk/>
            <pc:sldMk cId="1832112976" sldId="2147472283"/>
            <ac:cxnSpMk id="57" creationId="{D22C9963-C04C-DCA7-2018-4B1D94617A21}"/>
          </ac:cxnSpMkLst>
        </pc:cxnChg>
        <pc:cxnChg chg="add del mod">
          <ac:chgData name="Hillard, Laura" userId="fb6b425a-e8d9-473f-bcd9-e45358f5bb1d" providerId="ADAL" clId="{ED5B23FA-AB2C-498E-AB64-7CAD937BFAF4}" dt="2023-08-18T02:52:44.864" v="1542" actId="478"/>
          <ac:cxnSpMkLst>
            <pc:docMk/>
            <pc:sldMk cId="1832112976" sldId="2147472283"/>
            <ac:cxnSpMk id="58" creationId="{684D8A70-1949-413B-C893-517289E5743F}"/>
          </ac:cxnSpMkLst>
        </pc:cxnChg>
        <pc:cxnChg chg="add mod">
          <ac:chgData name="Hillard, Laura" userId="fb6b425a-e8d9-473f-bcd9-e45358f5bb1d" providerId="ADAL" clId="{ED5B23FA-AB2C-498E-AB64-7CAD937BFAF4}" dt="2023-08-18T20:01:44.881" v="3673" actId="208"/>
          <ac:cxnSpMkLst>
            <pc:docMk/>
            <pc:sldMk cId="1832112976" sldId="2147472283"/>
            <ac:cxnSpMk id="59" creationId="{4D728ABC-E155-8BD4-B9DE-82863115C760}"/>
          </ac:cxnSpMkLst>
        </pc:cxnChg>
        <pc:cxnChg chg="add mod">
          <ac:chgData name="Hillard, Laura" userId="fb6b425a-e8d9-473f-bcd9-e45358f5bb1d" providerId="ADAL" clId="{ED5B23FA-AB2C-498E-AB64-7CAD937BFAF4}" dt="2023-08-18T20:01:44.881" v="3673" actId="208"/>
          <ac:cxnSpMkLst>
            <pc:docMk/>
            <pc:sldMk cId="1832112976" sldId="2147472283"/>
            <ac:cxnSpMk id="65" creationId="{E78E0F8A-3E2B-3E8F-FC37-E152DE77BD97}"/>
          </ac:cxnSpMkLst>
        </pc:cxnChg>
      </pc:sldChg>
      <pc:sldChg chg="add del">
        <pc:chgData name="Hillard, Laura" userId="fb6b425a-e8d9-473f-bcd9-e45358f5bb1d" providerId="ADAL" clId="{ED5B23FA-AB2C-498E-AB64-7CAD937BFAF4}" dt="2023-08-18T02:40:16.759" v="1123"/>
        <pc:sldMkLst>
          <pc:docMk/>
          <pc:sldMk cId="2364655245" sldId="2147472283"/>
        </pc:sldMkLst>
      </pc:sldChg>
      <pc:sldChg chg="delSp add mod ord addCm delCm">
        <pc:chgData name="Hillard, Laura" userId="fb6b425a-e8d9-473f-bcd9-e45358f5bb1d" providerId="ADAL" clId="{ED5B23FA-AB2C-498E-AB64-7CAD937BFAF4}" dt="2023-08-18T17:48:04.484" v="2950"/>
        <pc:sldMkLst>
          <pc:docMk/>
          <pc:sldMk cId="3578267910" sldId="2147472284"/>
        </pc:sldMkLst>
        <pc:spChg chg="del">
          <ac:chgData name="Hillard, Laura" userId="fb6b425a-e8d9-473f-bcd9-e45358f5bb1d" providerId="ADAL" clId="{ED5B23FA-AB2C-498E-AB64-7CAD937BFAF4}" dt="2023-08-18T16:00:09.867" v="2488" actId="478"/>
          <ac:spMkLst>
            <pc:docMk/>
            <pc:sldMk cId="3578267910" sldId="2147472284"/>
            <ac:spMk id="2" creationId="{94DDEAA1-BF9A-5DB1-591D-4E05BCDF18EA}"/>
          </ac:spMkLst>
        </pc:spChg>
        <pc:spChg chg="del">
          <ac:chgData name="Hillard, Laura" userId="fb6b425a-e8d9-473f-bcd9-e45358f5bb1d" providerId="ADAL" clId="{ED5B23FA-AB2C-498E-AB64-7CAD937BFAF4}" dt="2023-08-18T16:00:06.957" v="2487" actId="478"/>
          <ac:spMkLst>
            <pc:docMk/>
            <pc:sldMk cId="3578267910" sldId="2147472284"/>
            <ac:spMk id="21" creationId="{1FA11ACC-ECD4-CD65-D78D-BCE26B30B602}"/>
          </ac:spMkLst>
        </pc:spChg>
        <pc:spChg chg="del">
          <ac:chgData name="Hillard, Laura" userId="fb6b425a-e8d9-473f-bcd9-e45358f5bb1d" providerId="ADAL" clId="{ED5B23FA-AB2C-498E-AB64-7CAD937BFAF4}" dt="2023-08-18T16:00:03.776" v="2486" actId="478"/>
          <ac:spMkLst>
            <pc:docMk/>
            <pc:sldMk cId="3578267910" sldId="2147472284"/>
            <ac:spMk id="55" creationId="{34B673A0-382A-B337-3560-2329F60E3321}"/>
          </ac:spMkLst>
        </pc:spChg>
      </pc:sldChg>
      <pc:sldChg chg="addSp delSp modSp add del mod">
        <pc:chgData name="Hillard, Laura" userId="fb6b425a-e8d9-473f-bcd9-e45358f5bb1d" providerId="ADAL" clId="{ED5B23FA-AB2C-498E-AB64-7CAD937BFAF4}" dt="2023-08-18T19:44:06.893" v="3295" actId="47"/>
        <pc:sldMkLst>
          <pc:docMk/>
          <pc:sldMk cId="827724078" sldId="2147472285"/>
        </pc:sldMkLst>
        <pc:spChg chg="del">
          <ac:chgData name="Hillard, Laura" userId="fb6b425a-e8d9-473f-bcd9-e45358f5bb1d" providerId="ADAL" clId="{ED5B23FA-AB2C-498E-AB64-7CAD937BFAF4}" dt="2023-08-18T18:04:48.562" v="3019" actId="478"/>
          <ac:spMkLst>
            <pc:docMk/>
            <pc:sldMk cId="827724078" sldId="2147472285"/>
            <ac:spMk id="3" creationId="{1ABEB552-FC05-4726-8630-22111FC75C23}"/>
          </ac:spMkLst>
        </pc:spChg>
        <pc:spChg chg="mod">
          <ac:chgData name="Hillard, Laura" userId="fb6b425a-e8d9-473f-bcd9-e45358f5bb1d" providerId="ADAL" clId="{ED5B23FA-AB2C-498E-AB64-7CAD937BFAF4}" dt="2023-08-18T18:04:44.566" v="3018" actId="20577"/>
          <ac:spMkLst>
            <pc:docMk/>
            <pc:sldMk cId="827724078" sldId="2147472285"/>
            <ac:spMk id="24" creationId="{964923DB-2256-419B-A063-3239D1FC888E}"/>
          </ac:spMkLst>
        </pc:spChg>
        <pc:spChg chg="add mod">
          <ac:chgData name="Hillard, Laura" userId="fb6b425a-e8d9-473f-bcd9-e45358f5bb1d" providerId="ADAL" clId="{ED5B23FA-AB2C-498E-AB64-7CAD937BFAF4}" dt="2023-08-18T19:09:43.095" v="3109" actId="20577"/>
          <ac:spMkLst>
            <pc:docMk/>
            <pc:sldMk cId="827724078" sldId="2147472285"/>
            <ac:spMk id="25" creationId="{4A02B834-331E-5EF2-4CC5-6E0D90620543}"/>
          </ac:spMkLst>
        </pc:spChg>
        <pc:grpChg chg="del">
          <ac:chgData name="Hillard, Laura" userId="fb6b425a-e8d9-473f-bcd9-e45358f5bb1d" providerId="ADAL" clId="{ED5B23FA-AB2C-498E-AB64-7CAD937BFAF4}" dt="2023-08-18T18:04:53.118" v="3020" actId="478"/>
          <ac:grpSpMkLst>
            <pc:docMk/>
            <pc:sldMk cId="827724078" sldId="2147472285"/>
            <ac:grpSpMk id="4" creationId="{D219FD86-B6F3-4E85-AAFB-5FFA3FEF47DD}"/>
          </ac:grpSpMkLst>
        </pc:grpChg>
        <pc:grpChg chg="del">
          <ac:chgData name="Hillard, Laura" userId="fb6b425a-e8d9-473f-bcd9-e45358f5bb1d" providerId="ADAL" clId="{ED5B23FA-AB2C-498E-AB64-7CAD937BFAF4}" dt="2023-08-18T18:04:53.118" v="3020" actId="478"/>
          <ac:grpSpMkLst>
            <pc:docMk/>
            <pc:sldMk cId="827724078" sldId="2147472285"/>
            <ac:grpSpMk id="8" creationId="{3748B3AE-EFFF-496B-ACE0-D4571BEB8BE9}"/>
          </ac:grpSpMkLst>
        </pc:grpChg>
        <pc:grpChg chg="del">
          <ac:chgData name="Hillard, Laura" userId="fb6b425a-e8d9-473f-bcd9-e45358f5bb1d" providerId="ADAL" clId="{ED5B23FA-AB2C-498E-AB64-7CAD937BFAF4}" dt="2023-08-18T18:04:53.118" v="3020" actId="478"/>
          <ac:grpSpMkLst>
            <pc:docMk/>
            <pc:sldMk cId="827724078" sldId="2147472285"/>
            <ac:grpSpMk id="12" creationId="{175ADA4B-FE16-45FC-A00A-5FE7324AB612}"/>
          </ac:grpSpMkLst>
        </pc:grpChg>
        <pc:grpChg chg="del">
          <ac:chgData name="Hillard, Laura" userId="fb6b425a-e8d9-473f-bcd9-e45358f5bb1d" providerId="ADAL" clId="{ED5B23FA-AB2C-498E-AB64-7CAD937BFAF4}" dt="2023-08-18T18:04:53.118" v="3020" actId="478"/>
          <ac:grpSpMkLst>
            <pc:docMk/>
            <pc:sldMk cId="827724078" sldId="2147472285"/>
            <ac:grpSpMk id="16" creationId="{00B2AB4C-BB14-4C0D-AF7D-A6D4B9CA69EF}"/>
          </ac:grpSpMkLst>
        </pc:grpChg>
        <pc:grpChg chg="del">
          <ac:chgData name="Hillard, Laura" userId="fb6b425a-e8d9-473f-bcd9-e45358f5bb1d" providerId="ADAL" clId="{ED5B23FA-AB2C-498E-AB64-7CAD937BFAF4}" dt="2023-08-18T18:04:53.118" v="3020" actId="478"/>
          <ac:grpSpMkLst>
            <pc:docMk/>
            <pc:sldMk cId="827724078" sldId="2147472285"/>
            <ac:grpSpMk id="20" creationId="{97818ED5-671A-41B6-8FED-35CC51D78E82}"/>
          </ac:grpSpMkLst>
        </pc:grpChg>
        <pc:picChg chg="add mod modCrop">
          <ac:chgData name="Hillard, Laura" userId="fb6b425a-e8d9-473f-bcd9-e45358f5bb1d" providerId="ADAL" clId="{ED5B23FA-AB2C-498E-AB64-7CAD937BFAF4}" dt="2023-08-18T18:10:32.311" v="3025" actId="18131"/>
          <ac:picMkLst>
            <pc:docMk/>
            <pc:sldMk cId="827724078" sldId="2147472285"/>
            <ac:picMk id="26" creationId="{A2E44B7A-42C4-73C2-7C53-BABF50439C4F}"/>
          </ac:picMkLst>
        </pc:picChg>
      </pc:sldChg>
      <pc:sldChg chg="modSp add del mod">
        <pc:chgData name="Hillard, Laura" userId="fb6b425a-e8d9-473f-bcd9-e45358f5bb1d" providerId="ADAL" clId="{ED5B23FA-AB2C-498E-AB64-7CAD937BFAF4}" dt="2023-08-18T19:43:51.305" v="3291" actId="47"/>
        <pc:sldMkLst>
          <pc:docMk/>
          <pc:sldMk cId="1150746054" sldId="2147472286"/>
        </pc:sldMkLst>
        <pc:spChg chg="mod">
          <ac:chgData name="Hillard, Laura" userId="fb6b425a-e8d9-473f-bcd9-e45358f5bb1d" providerId="ADAL" clId="{ED5B23FA-AB2C-498E-AB64-7CAD937BFAF4}" dt="2023-08-18T19:28:55.453" v="3152" actId="20577"/>
          <ac:spMkLst>
            <pc:docMk/>
            <pc:sldMk cId="1150746054" sldId="2147472286"/>
            <ac:spMk id="24" creationId="{964923DB-2256-419B-A063-3239D1FC888E}"/>
          </ac:spMkLst>
        </pc:spChg>
        <pc:spChg chg="mod">
          <ac:chgData name="Hillard, Laura" userId="fb6b425a-e8d9-473f-bcd9-e45358f5bb1d" providerId="ADAL" clId="{ED5B23FA-AB2C-498E-AB64-7CAD937BFAF4}" dt="2023-08-18T19:29:14.166" v="3182" actId="5793"/>
          <ac:spMkLst>
            <pc:docMk/>
            <pc:sldMk cId="1150746054" sldId="2147472286"/>
            <ac:spMk id="25" creationId="{4A02B834-331E-5EF2-4CC5-6E0D90620543}"/>
          </ac:spMkLst>
        </pc:spChg>
      </pc:sldChg>
      <pc:sldChg chg="add ord">
        <pc:chgData name="Hillard, Laura" userId="fb6b425a-e8d9-473f-bcd9-e45358f5bb1d" providerId="ADAL" clId="{ED5B23FA-AB2C-498E-AB64-7CAD937BFAF4}" dt="2023-08-18T19:36:30.836" v="3238"/>
        <pc:sldMkLst>
          <pc:docMk/>
          <pc:sldMk cId="1044946537" sldId="2147472287"/>
        </pc:sldMkLst>
      </pc:sldChg>
      <pc:sldChg chg="add del setBg">
        <pc:chgData name="Hillard, Laura" userId="fb6b425a-e8d9-473f-bcd9-e45358f5bb1d" providerId="ADAL" clId="{ED5B23FA-AB2C-498E-AB64-7CAD937BFAF4}" dt="2023-08-18T19:29:26.557" v="3185"/>
        <pc:sldMkLst>
          <pc:docMk/>
          <pc:sldMk cId="1964731585" sldId="2147472288"/>
        </pc:sldMkLst>
      </pc:sldChg>
      <pc:sldChg chg="modSp add mod addCm">
        <pc:chgData name="Hillard, Laura" userId="fb6b425a-e8d9-473f-bcd9-e45358f5bb1d" providerId="ADAL" clId="{ED5B23FA-AB2C-498E-AB64-7CAD937BFAF4}" dt="2023-08-18T20:40:10.453" v="4636"/>
        <pc:sldMkLst>
          <pc:docMk/>
          <pc:sldMk cId="3135305435" sldId="2147472288"/>
        </pc:sldMkLst>
        <pc:spChg chg="mod">
          <ac:chgData name="Hillard, Laura" userId="fb6b425a-e8d9-473f-bcd9-e45358f5bb1d" providerId="ADAL" clId="{ED5B23FA-AB2C-498E-AB64-7CAD937BFAF4}" dt="2023-08-18T19:29:42.472" v="3191"/>
          <ac:spMkLst>
            <pc:docMk/>
            <pc:sldMk cId="3135305435" sldId="2147472288"/>
            <ac:spMk id="3" creationId="{DBE128BB-F9C9-4D1E-8EF7-3A99EBCC7F36}"/>
          </ac:spMkLst>
        </pc:spChg>
      </pc:sldChg>
      <pc:sldChg chg="modSp add mod">
        <pc:chgData name="Hillard, Laura" userId="fb6b425a-e8d9-473f-bcd9-e45358f5bb1d" providerId="ADAL" clId="{ED5B23FA-AB2C-498E-AB64-7CAD937BFAF4}" dt="2023-08-18T19:29:58.374" v="3211" actId="20577"/>
        <pc:sldMkLst>
          <pc:docMk/>
          <pc:sldMk cId="1131847090" sldId="2147472289"/>
        </pc:sldMkLst>
        <pc:spChg chg="mod">
          <ac:chgData name="Hillard, Laura" userId="fb6b425a-e8d9-473f-bcd9-e45358f5bb1d" providerId="ADAL" clId="{ED5B23FA-AB2C-498E-AB64-7CAD937BFAF4}" dt="2023-08-18T19:29:58.374" v="3211" actId="20577"/>
          <ac:spMkLst>
            <pc:docMk/>
            <pc:sldMk cId="1131847090" sldId="2147472289"/>
            <ac:spMk id="3" creationId="{DBE128BB-F9C9-4D1E-8EF7-3A99EBCC7F36}"/>
          </ac:spMkLst>
        </pc:spChg>
      </pc:sldChg>
      <pc:sldChg chg="add del setBg">
        <pc:chgData name="Hillard, Laura" userId="fb6b425a-e8d9-473f-bcd9-e45358f5bb1d" providerId="ADAL" clId="{ED5B23FA-AB2C-498E-AB64-7CAD937BFAF4}" dt="2023-08-18T19:29:53.751" v="3193"/>
        <pc:sldMkLst>
          <pc:docMk/>
          <pc:sldMk cId="1452779621" sldId="2147472289"/>
        </pc:sldMkLst>
      </pc:sldChg>
      <pc:sldChg chg="add del setBg">
        <pc:chgData name="Hillard, Laura" userId="fb6b425a-e8d9-473f-bcd9-e45358f5bb1d" providerId="ADAL" clId="{ED5B23FA-AB2C-498E-AB64-7CAD937BFAF4}" dt="2023-08-18T19:30:02.461" v="3213"/>
        <pc:sldMkLst>
          <pc:docMk/>
          <pc:sldMk cId="1232761064" sldId="2147472290"/>
        </pc:sldMkLst>
      </pc:sldChg>
      <pc:sldChg chg="modSp add mod">
        <pc:chgData name="Hillard, Laura" userId="fb6b425a-e8d9-473f-bcd9-e45358f5bb1d" providerId="ADAL" clId="{ED5B23FA-AB2C-498E-AB64-7CAD937BFAF4}" dt="2023-08-18T19:30:08.229" v="3233" actId="20577"/>
        <pc:sldMkLst>
          <pc:docMk/>
          <pc:sldMk cId="3675984277" sldId="2147472290"/>
        </pc:sldMkLst>
        <pc:spChg chg="mod">
          <ac:chgData name="Hillard, Laura" userId="fb6b425a-e8d9-473f-bcd9-e45358f5bb1d" providerId="ADAL" clId="{ED5B23FA-AB2C-498E-AB64-7CAD937BFAF4}" dt="2023-08-18T19:30:08.229" v="3233" actId="20577"/>
          <ac:spMkLst>
            <pc:docMk/>
            <pc:sldMk cId="3675984277" sldId="2147472290"/>
            <ac:spMk id="3" creationId="{DBE128BB-F9C9-4D1E-8EF7-3A99EBCC7F36}"/>
          </ac:spMkLst>
        </pc:spChg>
      </pc:sldChg>
      <pc:sldChg chg="add del">
        <pc:chgData name="Hillard, Laura" userId="fb6b425a-e8d9-473f-bcd9-e45358f5bb1d" providerId="ADAL" clId="{ED5B23FA-AB2C-498E-AB64-7CAD937BFAF4}" dt="2023-08-18T19:36:07.132" v="3236"/>
        <pc:sldMkLst>
          <pc:docMk/>
          <pc:sldMk cId="2459806374" sldId="2147472306"/>
        </pc:sldMkLst>
      </pc:sldChg>
      <pc:sldChg chg="addSp delSp modSp add mod">
        <pc:chgData name="Hillard, Laura" userId="fb6b425a-e8d9-473f-bcd9-e45358f5bb1d" providerId="ADAL" clId="{ED5B23FA-AB2C-498E-AB64-7CAD937BFAF4}" dt="2023-08-18T20:18:17.291" v="3937" actId="20577"/>
        <pc:sldMkLst>
          <pc:docMk/>
          <pc:sldMk cId="81513845" sldId="2147472307"/>
        </pc:sldMkLst>
        <pc:spChg chg="add mod">
          <ac:chgData name="Hillard, Laura" userId="fb6b425a-e8d9-473f-bcd9-e45358f5bb1d" providerId="ADAL" clId="{ED5B23FA-AB2C-498E-AB64-7CAD937BFAF4}" dt="2023-08-18T20:17:43.717" v="3862" actId="1076"/>
          <ac:spMkLst>
            <pc:docMk/>
            <pc:sldMk cId="81513845" sldId="2147472307"/>
            <ac:spMk id="3" creationId="{335352A6-99E1-8E0E-6CC3-6D0D101C358D}"/>
          </ac:spMkLst>
        </pc:spChg>
        <pc:spChg chg="add mod">
          <ac:chgData name="Hillard, Laura" userId="fb6b425a-e8d9-473f-bcd9-e45358f5bb1d" providerId="ADAL" clId="{ED5B23FA-AB2C-498E-AB64-7CAD937BFAF4}" dt="2023-08-18T20:18:17.291" v="3937" actId="20577"/>
          <ac:spMkLst>
            <pc:docMk/>
            <pc:sldMk cId="81513845" sldId="2147472307"/>
            <ac:spMk id="4" creationId="{5384E798-BCAF-A2BB-C43D-0CA5F9E634E0}"/>
          </ac:spMkLst>
        </pc:spChg>
        <pc:spChg chg="mod">
          <ac:chgData name="Hillard, Laura" userId="fb6b425a-e8d9-473f-bcd9-e45358f5bb1d" providerId="ADAL" clId="{ED5B23FA-AB2C-498E-AB64-7CAD937BFAF4}" dt="2023-08-18T20:17:52.951" v="3874" actId="20577"/>
          <ac:spMkLst>
            <pc:docMk/>
            <pc:sldMk cId="81513845" sldId="2147472307"/>
            <ac:spMk id="24" creationId="{964923DB-2256-419B-A063-3239D1FC888E}"/>
          </ac:spMkLst>
        </pc:spChg>
        <pc:spChg chg="del">
          <ac:chgData name="Hillard, Laura" userId="fb6b425a-e8d9-473f-bcd9-e45358f5bb1d" providerId="ADAL" clId="{ED5B23FA-AB2C-498E-AB64-7CAD937BFAF4}" dt="2023-08-18T20:12:02.449" v="3808" actId="478"/>
          <ac:spMkLst>
            <pc:docMk/>
            <pc:sldMk cId="81513845" sldId="2147472307"/>
            <ac:spMk id="25" creationId="{4A02B834-331E-5EF2-4CC5-6E0D90620543}"/>
          </ac:spMkLst>
        </pc:spChg>
        <pc:picChg chg="add mod">
          <ac:chgData name="Hillard, Laura" userId="fb6b425a-e8d9-473f-bcd9-e45358f5bb1d" providerId="ADAL" clId="{ED5B23FA-AB2C-498E-AB64-7CAD937BFAF4}" dt="2023-08-18T20:17:49.088" v="3863" actId="1076"/>
          <ac:picMkLst>
            <pc:docMk/>
            <pc:sldMk cId="81513845" sldId="2147472307"/>
            <ac:picMk id="5" creationId="{F8844B0A-BCE1-850C-6412-3D1A8AEB0660}"/>
          </ac:picMkLst>
        </pc:picChg>
        <pc:picChg chg="del">
          <ac:chgData name="Hillard, Laura" userId="fb6b425a-e8d9-473f-bcd9-e45358f5bb1d" providerId="ADAL" clId="{ED5B23FA-AB2C-498E-AB64-7CAD937BFAF4}" dt="2023-08-18T20:12:00.598" v="3807" actId="478"/>
          <ac:picMkLst>
            <pc:docMk/>
            <pc:sldMk cId="81513845" sldId="2147472307"/>
            <ac:picMk id="26" creationId="{A2E44B7A-42C4-73C2-7C53-BABF50439C4F}"/>
          </ac:picMkLst>
        </pc:picChg>
      </pc:sldChg>
      <pc:sldChg chg="add del">
        <pc:chgData name="Hillard, Laura" userId="fb6b425a-e8d9-473f-bcd9-e45358f5bb1d" providerId="ADAL" clId="{ED5B23FA-AB2C-498E-AB64-7CAD937BFAF4}" dt="2023-08-18T19:40:49.473" v="3270" actId="47"/>
        <pc:sldMkLst>
          <pc:docMk/>
          <pc:sldMk cId="718423578" sldId="2147472308"/>
        </pc:sldMkLst>
      </pc:sldChg>
      <pc:sldChg chg="add del">
        <pc:chgData name="Hillard, Laura" userId="fb6b425a-e8d9-473f-bcd9-e45358f5bb1d" providerId="ADAL" clId="{ED5B23FA-AB2C-498E-AB64-7CAD937BFAF4}" dt="2023-08-18T19:40:41.971" v="3266"/>
        <pc:sldMkLst>
          <pc:docMk/>
          <pc:sldMk cId="2584005207" sldId="2147472309"/>
        </pc:sldMkLst>
      </pc:sldChg>
      <pc:sldChg chg="addSp delSp modSp add mod ord">
        <pc:chgData name="Hillard, Laura" userId="fb6b425a-e8d9-473f-bcd9-e45358f5bb1d" providerId="ADAL" clId="{ED5B23FA-AB2C-498E-AB64-7CAD937BFAF4}" dt="2023-08-18T20:41:02.471" v="4648" actId="20577"/>
        <pc:sldMkLst>
          <pc:docMk/>
          <pc:sldMk cId="4086239096" sldId="2147472309"/>
        </pc:sldMkLst>
        <pc:spChg chg="mod">
          <ac:chgData name="Hillard, Laura" userId="fb6b425a-e8d9-473f-bcd9-e45358f5bb1d" providerId="ADAL" clId="{ED5B23FA-AB2C-498E-AB64-7CAD937BFAF4}" dt="2023-08-18T20:40:59.278" v="4643" actId="20577"/>
          <ac:spMkLst>
            <pc:docMk/>
            <pc:sldMk cId="4086239096" sldId="2147472309"/>
            <ac:spMk id="24" creationId="{964923DB-2256-419B-A063-3239D1FC888E}"/>
          </ac:spMkLst>
        </pc:spChg>
        <pc:spChg chg="mod">
          <ac:chgData name="Hillard, Laura" userId="fb6b425a-e8d9-473f-bcd9-e45358f5bb1d" providerId="ADAL" clId="{ED5B23FA-AB2C-498E-AB64-7CAD937BFAF4}" dt="2023-08-18T20:41:02.471" v="4648" actId="20577"/>
          <ac:spMkLst>
            <pc:docMk/>
            <pc:sldMk cId="4086239096" sldId="2147472309"/>
            <ac:spMk id="25" creationId="{4A02B834-331E-5EF2-4CC5-6E0D90620543}"/>
          </ac:spMkLst>
        </pc:spChg>
        <pc:picChg chg="add mod">
          <ac:chgData name="Hillard, Laura" userId="fb6b425a-e8d9-473f-bcd9-e45358f5bb1d" providerId="ADAL" clId="{ED5B23FA-AB2C-498E-AB64-7CAD937BFAF4}" dt="2023-08-18T20:40:55.253" v="4640" actId="1076"/>
          <ac:picMkLst>
            <pc:docMk/>
            <pc:sldMk cId="4086239096" sldId="2147472309"/>
            <ac:picMk id="4" creationId="{9C0ABEDE-0774-4589-C8D5-1A40B0CA3CF1}"/>
          </ac:picMkLst>
        </pc:picChg>
        <pc:picChg chg="del">
          <ac:chgData name="Hillard, Laura" userId="fb6b425a-e8d9-473f-bcd9-e45358f5bb1d" providerId="ADAL" clId="{ED5B23FA-AB2C-498E-AB64-7CAD937BFAF4}" dt="2023-08-18T20:40:50.780" v="4637" actId="478"/>
          <ac:picMkLst>
            <pc:docMk/>
            <pc:sldMk cId="4086239096" sldId="2147472309"/>
            <ac:picMk id="26" creationId="{A2E44B7A-42C4-73C2-7C53-BABF50439C4F}"/>
          </ac:picMkLst>
        </pc:picChg>
      </pc:sldChg>
      <pc:sldChg chg="modSp add mod">
        <pc:chgData name="Hillard, Laura" userId="fb6b425a-e8d9-473f-bcd9-e45358f5bb1d" providerId="ADAL" clId="{ED5B23FA-AB2C-498E-AB64-7CAD937BFAF4}" dt="2023-08-18T19:40:58.424" v="3274" actId="20577"/>
        <pc:sldMkLst>
          <pc:docMk/>
          <pc:sldMk cId="71924198" sldId="2147472310"/>
        </pc:sldMkLst>
        <pc:spChg chg="mod">
          <ac:chgData name="Hillard, Laura" userId="fb6b425a-e8d9-473f-bcd9-e45358f5bb1d" providerId="ADAL" clId="{ED5B23FA-AB2C-498E-AB64-7CAD937BFAF4}" dt="2023-08-18T19:40:58.424" v="3274" actId="20577"/>
          <ac:spMkLst>
            <pc:docMk/>
            <pc:sldMk cId="71924198" sldId="2147472310"/>
            <ac:spMk id="3" creationId="{DBE128BB-F9C9-4D1E-8EF7-3A99EBCC7F36}"/>
          </ac:spMkLst>
        </pc:spChg>
      </pc:sldChg>
      <pc:sldChg chg="modSp add mod ord">
        <pc:chgData name="Hillard, Laura" userId="fb6b425a-e8d9-473f-bcd9-e45358f5bb1d" providerId="ADAL" clId="{ED5B23FA-AB2C-498E-AB64-7CAD937BFAF4}" dt="2023-08-18T19:41:13.960" v="3279"/>
        <pc:sldMkLst>
          <pc:docMk/>
          <pc:sldMk cId="3183095165" sldId="2147472311"/>
        </pc:sldMkLst>
        <pc:spChg chg="mod">
          <ac:chgData name="Hillard, Laura" userId="fb6b425a-e8d9-473f-bcd9-e45358f5bb1d" providerId="ADAL" clId="{ED5B23FA-AB2C-498E-AB64-7CAD937BFAF4}" dt="2023-08-18T19:41:13.960" v="3279"/>
          <ac:spMkLst>
            <pc:docMk/>
            <pc:sldMk cId="3183095165" sldId="2147472311"/>
            <ac:spMk id="3" creationId="{DBE128BB-F9C9-4D1E-8EF7-3A99EBCC7F36}"/>
          </ac:spMkLst>
        </pc:spChg>
      </pc:sldChg>
      <pc:sldChg chg="add del">
        <pc:chgData name="Hillard, Laura" userId="fb6b425a-e8d9-473f-bcd9-e45358f5bb1d" providerId="ADAL" clId="{ED5B23FA-AB2C-498E-AB64-7CAD937BFAF4}" dt="2023-08-18T19:41:24.724" v="3282" actId="2890"/>
        <pc:sldMkLst>
          <pc:docMk/>
          <pc:sldMk cId="1210078539" sldId="2147472312"/>
        </pc:sldMkLst>
      </pc:sldChg>
      <pc:sldChg chg="modSp add mod ord">
        <pc:chgData name="Hillard, Laura" userId="fb6b425a-e8d9-473f-bcd9-e45358f5bb1d" providerId="ADAL" clId="{ED5B23FA-AB2C-498E-AB64-7CAD937BFAF4}" dt="2023-08-18T19:43:36.386" v="3286"/>
        <pc:sldMkLst>
          <pc:docMk/>
          <pc:sldMk cId="3518672551" sldId="2147472312"/>
        </pc:sldMkLst>
        <pc:spChg chg="mod">
          <ac:chgData name="Hillard, Laura" userId="fb6b425a-e8d9-473f-bcd9-e45358f5bb1d" providerId="ADAL" clId="{ED5B23FA-AB2C-498E-AB64-7CAD937BFAF4}" dt="2023-08-18T19:43:36.386" v="3286"/>
          <ac:spMkLst>
            <pc:docMk/>
            <pc:sldMk cId="3518672551" sldId="2147472312"/>
            <ac:spMk id="3" creationId="{DBE128BB-F9C9-4D1E-8EF7-3A99EBCC7F36}"/>
          </ac:spMkLst>
        </pc:spChg>
      </pc:sldChg>
      <pc:sldChg chg="modSp add mod ord">
        <pc:chgData name="Hillard, Laura" userId="fb6b425a-e8d9-473f-bcd9-e45358f5bb1d" providerId="ADAL" clId="{ED5B23FA-AB2C-498E-AB64-7CAD937BFAF4}" dt="2023-08-18T19:44:05.081" v="3294"/>
        <pc:sldMkLst>
          <pc:docMk/>
          <pc:sldMk cId="113113539" sldId="2147472313"/>
        </pc:sldMkLst>
        <pc:spChg chg="mod">
          <ac:chgData name="Hillard, Laura" userId="fb6b425a-e8d9-473f-bcd9-e45358f5bb1d" providerId="ADAL" clId="{ED5B23FA-AB2C-498E-AB64-7CAD937BFAF4}" dt="2023-08-18T19:44:05.081" v="3294"/>
          <ac:spMkLst>
            <pc:docMk/>
            <pc:sldMk cId="113113539" sldId="2147472313"/>
            <ac:spMk id="25" creationId="{4A02B834-331E-5EF2-4CC5-6E0D90620543}"/>
          </ac:spMkLst>
        </pc:spChg>
      </pc:sldChg>
      <pc:sldChg chg="modSp add mod ord">
        <pc:chgData name="Hillard, Laura" userId="fb6b425a-e8d9-473f-bcd9-e45358f5bb1d" providerId="ADAL" clId="{ED5B23FA-AB2C-498E-AB64-7CAD937BFAF4}" dt="2023-08-18T19:44:44.987" v="3297"/>
        <pc:sldMkLst>
          <pc:docMk/>
          <pc:sldMk cId="402946131" sldId="2147472314"/>
        </pc:sldMkLst>
        <pc:spChg chg="mod">
          <ac:chgData name="Hillard, Laura" userId="fb6b425a-e8d9-473f-bcd9-e45358f5bb1d" providerId="ADAL" clId="{ED5B23FA-AB2C-498E-AB64-7CAD937BFAF4}" dt="2023-08-18T19:43:58.978" v="3293" actId="20577"/>
          <ac:spMkLst>
            <pc:docMk/>
            <pc:sldMk cId="402946131" sldId="2147472314"/>
            <ac:spMk id="24" creationId="{964923DB-2256-419B-A063-3239D1FC888E}"/>
          </ac:spMkLst>
        </pc:spChg>
      </pc:sldChg>
      <pc:sldChg chg="addSp delSp modSp add mod ord addCm">
        <pc:chgData name="Hillard, Laura" userId="fb6b425a-e8d9-473f-bcd9-e45358f5bb1d" providerId="ADAL" clId="{ED5B23FA-AB2C-498E-AB64-7CAD937BFAF4}" dt="2023-08-18T20:32:19.578" v="4635" actId="403"/>
        <pc:sldMkLst>
          <pc:docMk/>
          <pc:sldMk cId="816121738" sldId="2147472315"/>
        </pc:sldMkLst>
        <pc:spChg chg="add mod">
          <ac:chgData name="Hillard, Laura" userId="fb6b425a-e8d9-473f-bcd9-e45358f5bb1d" providerId="ADAL" clId="{ED5B23FA-AB2C-498E-AB64-7CAD937BFAF4}" dt="2023-08-18T20:19:42.744" v="3940"/>
          <ac:spMkLst>
            <pc:docMk/>
            <pc:sldMk cId="816121738" sldId="2147472315"/>
            <ac:spMk id="4" creationId="{9CA0E7DF-8DD3-6E2B-6243-EF4F30CD3EC1}"/>
          </ac:spMkLst>
        </pc:spChg>
        <pc:spChg chg="add mod">
          <ac:chgData name="Hillard, Laura" userId="fb6b425a-e8d9-473f-bcd9-e45358f5bb1d" providerId="ADAL" clId="{ED5B23FA-AB2C-498E-AB64-7CAD937BFAF4}" dt="2023-08-18T20:19:42.744" v="3940"/>
          <ac:spMkLst>
            <pc:docMk/>
            <pc:sldMk cId="816121738" sldId="2147472315"/>
            <ac:spMk id="5" creationId="{55F7E75A-939F-F836-EE53-D62BA5E8FA2F}"/>
          </ac:spMkLst>
        </pc:spChg>
        <pc:spChg chg="add mod">
          <ac:chgData name="Hillard, Laura" userId="fb6b425a-e8d9-473f-bcd9-e45358f5bb1d" providerId="ADAL" clId="{ED5B23FA-AB2C-498E-AB64-7CAD937BFAF4}" dt="2023-08-18T20:19:42.744" v="3940"/>
          <ac:spMkLst>
            <pc:docMk/>
            <pc:sldMk cId="816121738" sldId="2147472315"/>
            <ac:spMk id="6" creationId="{5645D8C6-637E-32D5-B30F-91697AD34922}"/>
          </ac:spMkLst>
        </pc:spChg>
        <pc:spChg chg="add mod">
          <ac:chgData name="Hillard, Laura" userId="fb6b425a-e8d9-473f-bcd9-e45358f5bb1d" providerId="ADAL" clId="{ED5B23FA-AB2C-498E-AB64-7CAD937BFAF4}" dt="2023-08-18T20:32:19.578" v="4635" actId="403"/>
          <ac:spMkLst>
            <pc:docMk/>
            <pc:sldMk cId="816121738" sldId="2147472315"/>
            <ac:spMk id="7" creationId="{7530EA3E-6DD5-461D-C3EE-294365C4E205}"/>
          </ac:spMkLst>
        </pc:spChg>
        <pc:spChg chg="add mod">
          <ac:chgData name="Hillard, Laura" userId="fb6b425a-e8d9-473f-bcd9-e45358f5bb1d" providerId="ADAL" clId="{ED5B23FA-AB2C-498E-AB64-7CAD937BFAF4}" dt="2023-08-18T20:19:42.744" v="3940"/>
          <ac:spMkLst>
            <pc:docMk/>
            <pc:sldMk cId="816121738" sldId="2147472315"/>
            <ac:spMk id="8" creationId="{F3F8B558-D5F4-98AA-C3D8-347AD751685A}"/>
          </ac:spMkLst>
        </pc:spChg>
        <pc:spChg chg="add mod">
          <ac:chgData name="Hillard, Laura" userId="fb6b425a-e8d9-473f-bcd9-e45358f5bb1d" providerId="ADAL" clId="{ED5B23FA-AB2C-498E-AB64-7CAD937BFAF4}" dt="2023-08-18T20:32:19.578" v="4635" actId="403"/>
          <ac:spMkLst>
            <pc:docMk/>
            <pc:sldMk cId="816121738" sldId="2147472315"/>
            <ac:spMk id="10" creationId="{99973E27-D23C-8EAB-0233-078EAE2F31C4}"/>
          </ac:spMkLst>
        </pc:spChg>
        <pc:spChg chg="add mod">
          <ac:chgData name="Hillard, Laura" userId="fb6b425a-e8d9-473f-bcd9-e45358f5bb1d" providerId="ADAL" clId="{ED5B23FA-AB2C-498E-AB64-7CAD937BFAF4}" dt="2023-08-18T20:32:19.578" v="4635" actId="403"/>
          <ac:spMkLst>
            <pc:docMk/>
            <pc:sldMk cId="816121738" sldId="2147472315"/>
            <ac:spMk id="11" creationId="{63756C7A-6F4E-DA1D-CB2C-AF4B0C293591}"/>
          </ac:spMkLst>
        </pc:spChg>
        <pc:spChg chg="add mod">
          <ac:chgData name="Hillard, Laura" userId="fb6b425a-e8d9-473f-bcd9-e45358f5bb1d" providerId="ADAL" clId="{ED5B23FA-AB2C-498E-AB64-7CAD937BFAF4}" dt="2023-08-18T20:20:21.644" v="4021" actId="404"/>
          <ac:spMkLst>
            <pc:docMk/>
            <pc:sldMk cId="816121738" sldId="2147472315"/>
            <ac:spMk id="12" creationId="{7469E343-B5CC-62E4-2EBE-5A33718B97D9}"/>
          </ac:spMkLst>
        </pc:spChg>
        <pc:spChg chg="add mod">
          <ac:chgData name="Hillard, Laura" userId="fb6b425a-e8d9-473f-bcd9-e45358f5bb1d" providerId="ADAL" clId="{ED5B23FA-AB2C-498E-AB64-7CAD937BFAF4}" dt="2023-08-18T20:20:21.644" v="4021" actId="404"/>
          <ac:spMkLst>
            <pc:docMk/>
            <pc:sldMk cId="816121738" sldId="2147472315"/>
            <ac:spMk id="13" creationId="{6EC7F595-4BD3-EBA2-0C3D-5C6E13650E37}"/>
          </ac:spMkLst>
        </pc:spChg>
        <pc:spChg chg="add mod">
          <ac:chgData name="Hillard, Laura" userId="fb6b425a-e8d9-473f-bcd9-e45358f5bb1d" providerId="ADAL" clId="{ED5B23FA-AB2C-498E-AB64-7CAD937BFAF4}" dt="2023-08-18T20:19:42.744" v="3940"/>
          <ac:spMkLst>
            <pc:docMk/>
            <pc:sldMk cId="816121738" sldId="2147472315"/>
            <ac:spMk id="14" creationId="{AAE2D81C-BC39-7EB8-5B01-46548E6EE316}"/>
          </ac:spMkLst>
        </pc:spChg>
        <pc:spChg chg="add mod">
          <ac:chgData name="Hillard, Laura" userId="fb6b425a-e8d9-473f-bcd9-e45358f5bb1d" providerId="ADAL" clId="{ED5B23FA-AB2C-498E-AB64-7CAD937BFAF4}" dt="2023-08-18T20:19:42.744" v="3940"/>
          <ac:spMkLst>
            <pc:docMk/>
            <pc:sldMk cId="816121738" sldId="2147472315"/>
            <ac:spMk id="15" creationId="{57B33666-C1A3-4504-F140-3250966753B6}"/>
          </ac:spMkLst>
        </pc:spChg>
        <pc:spChg chg="mod">
          <ac:chgData name="Hillard, Laura" userId="fb6b425a-e8d9-473f-bcd9-e45358f5bb1d" providerId="ADAL" clId="{ED5B23FA-AB2C-498E-AB64-7CAD937BFAF4}" dt="2023-08-18T20:19:42.744" v="3940"/>
          <ac:spMkLst>
            <pc:docMk/>
            <pc:sldMk cId="816121738" sldId="2147472315"/>
            <ac:spMk id="17" creationId="{E71A2393-C39D-4B04-8E8A-13C290A8CCA8}"/>
          </ac:spMkLst>
        </pc:spChg>
        <pc:spChg chg="mod">
          <ac:chgData name="Hillard, Laura" userId="fb6b425a-e8d9-473f-bcd9-e45358f5bb1d" providerId="ADAL" clId="{ED5B23FA-AB2C-498E-AB64-7CAD937BFAF4}" dt="2023-08-18T20:19:42.744" v="3940"/>
          <ac:spMkLst>
            <pc:docMk/>
            <pc:sldMk cId="816121738" sldId="2147472315"/>
            <ac:spMk id="18" creationId="{E357A79E-56B7-7629-A473-ABDB5A19A7AC}"/>
          </ac:spMkLst>
        </pc:spChg>
        <pc:spChg chg="mod">
          <ac:chgData name="Hillard, Laura" userId="fb6b425a-e8d9-473f-bcd9-e45358f5bb1d" providerId="ADAL" clId="{ED5B23FA-AB2C-498E-AB64-7CAD937BFAF4}" dt="2023-08-18T20:19:42.744" v="3940"/>
          <ac:spMkLst>
            <pc:docMk/>
            <pc:sldMk cId="816121738" sldId="2147472315"/>
            <ac:spMk id="20" creationId="{5C603443-223E-C3DB-E41C-36C63BA13D8A}"/>
          </ac:spMkLst>
        </pc:spChg>
        <pc:spChg chg="mod">
          <ac:chgData name="Hillard, Laura" userId="fb6b425a-e8d9-473f-bcd9-e45358f5bb1d" providerId="ADAL" clId="{ED5B23FA-AB2C-498E-AB64-7CAD937BFAF4}" dt="2023-08-18T20:19:42.744" v="3940"/>
          <ac:spMkLst>
            <pc:docMk/>
            <pc:sldMk cId="816121738" sldId="2147472315"/>
            <ac:spMk id="21" creationId="{C380C601-0B4F-BEC6-CDB4-04B3FED70E4F}"/>
          </ac:spMkLst>
        </pc:spChg>
        <pc:spChg chg="mod">
          <ac:chgData name="Hillard, Laura" userId="fb6b425a-e8d9-473f-bcd9-e45358f5bb1d" providerId="ADAL" clId="{ED5B23FA-AB2C-498E-AB64-7CAD937BFAF4}" dt="2023-08-18T20:19:42.744" v="3940"/>
          <ac:spMkLst>
            <pc:docMk/>
            <pc:sldMk cId="816121738" sldId="2147472315"/>
            <ac:spMk id="22" creationId="{7C4C5F25-5BDB-D45B-2E8A-EA2725795769}"/>
          </ac:spMkLst>
        </pc:spChg>
        <pc:spChg chg="mod">
          <ac:chgData name="Hillard, Laura" userId="fb6b425a-e8d9-473f-bcd9-e45358f5bb1d" providerId="ADAL" clId="{ED5B23FA-AB2C-498E-AB64-7CAD937BFAF4}" dt="2023-08-18T20:19:42.744" v="3940"/>
          <ac:spMkLst>
            <pc:docMk/>
            <pc:sldMk cId="816121738" sldId="2147472315"/>
            <ac:spMk id="23" creationId="{52440FA4-3394-F2CD-3DC8-2106442C9745}"/>
          </ac:spMkLst>
        </pc:spChg>
        <pc:spChg chg="mod">
          <ac:chgData name="Hillard, Laura" userId="fb6b425a-e8d9-473f-bcd9-e45358f5bb1d" providerId="ADAL" clId="{ED5B23FA-AB2C-498E-AB64-7CAD937BFAF4}" dt="2023-08-18T20:11:36.541" v="3788" actId="20577"/>
          <ac:spMkLst>
            <pc:docMk/>
            <pc:sldMk cId="816121738" sldId="2147472315"/>
            <ac:spMk id="24" creationId="{964923DB-2256-419B-A063-3239D1FC888E}"/>
          </ac:spMkLst>
        </pc:spChg>
        <pc:spChg chg="del">
          <ac:chgData name="Hillard, Laura" userId="fb6b425a-e8d9-473f-bcd9-e45358f5bb1d" providerId="ADAL" clId="{ED5B23FA-AB2C-498E-AB64-7CAD937BFAF4}" dt="2023-08-18T20:19:41.619" v="3939" actId="478"/>
          <ac:spMkLst>
            <pc:docMk/>
            <pc:sldMk cId="816121738" sldId="2147472315"/>
            <ac:spMk id="25" creationId="{4A02B834-331E-5EF2-4CC5-6E0D90620543}"/>
          </ac:spMkLst>
        </pc:spChg>
        <pc:spChg chg="add mod">
          <ac:chgData name="Hillard, Laura" userId="fb6b425a-e8d9-473f-bcd9-e45358f5bb1d" providerId="ADAL" clId="{ED5B23FA-AB2C-498E-AB64-7CAD937BFAF4}" dt="2023-08-18T20:20:21.644" v="4021" actId="404"/>
          <ac:spMkLst>
            <pc:docMk/>
            <pc:sldMk cId="816121738" sldId="2147472315"/>
            <ac:spMk id="27" creationId="{551BC47C-F129-1C42-0E66-9BB8DE7E51FC}"/>
          </ac:spMkLst>
        </pc:spChg>
        <pc:grpChg chg="add mod">
          <ac:chgData name="Hillard, Laura" userId="fb6b425a-e8d9-473f-bcd9-e45358f5bb1d" providerId="ADAL" clId="{ED5B23FA-AB2C-498E-AB64-7CAD937BFAF4}" dt="2023-08-18T20:19:42.744" v="3940"/>
          <ac:grpSpMkLst>
            <pc:docMk/>
            <pc:sldMk cId="816121738" sldId="2147472315"/>
            <ac:grpSpMk id="16" creationId="{D409ACC4-E5AC-EBCE-A213-340F55EADB38}"/>
          </ac:grpSpMkLst>
        </pc:grpChg>
        <pc:grpChg chg="add mod">
          <ac:chgData name="Hillard, Laura" userId="fb6b425a-e8d9-473f-bcd9-e45358f5bb1d" providerId="ADAL" clId="{ED5B23FA-AB2C-498E-AB64-7CAD937BFAF4}" dt="2023-08-18T20:19:42.744" v="3940"/>
          <ac:grpSpMkLst>
            <pc:docMk/>
            <pc:sldMk cId="816121738" sldId="2147472315"/>
            <ac:grpSpMk id="19" creationId="{2CAA2285-4F41-82B5-B10E-16ECCAED5B2E}"/>
          </ac:grpSpMkLst>
        </pc:grpChg>
        <pc:picChg chg="add mod">
          <ac:chgData name="Hillard, Laura" userId="fb6b425a-e8d9-473f-bcd9-e45358f5bb1d" providerId="ADAL" clId="{ED5B23FA-AB2C-498E-AB64-7CAD937BFAF4}" dt="2023-08-18T20:19:42.744" v="3940"/>
          <ac:picMkLst>
            <pc:docMk/>
            <pc:sldMk cId="816121738" sldId="2147472315"/>
            <ac:picMk id="9" creationId="{920D8CC3-2A08-B20A-C0D8-2E5B2EF83CF1}"/>
          </ac:picMkLst>
        </pc:picChg>
        <pc:picChg chg="del">
          <ac:chgData name="Hillard, Laura" userId="fb6b425a-e8d9-473f-bcd9-e45358f5bb1d" providerId="ADAL" clId="{ED5B23FA-AB2C-498E-AB64-7CAD937BFAF4}" dt="2023-08-18T20:19:39.959" v="3938" actId="478"/>
          <ac:picMkLst>
            <pc:docMk/>
            <pc:sldMk cId="816121738" sldId="2147472315"/>
            <ac:picMk id="26" creationId="{A2E44B7A-42C4-73C2-7C53-BABF50439C4F}"/>
          </ac:picMkLst>
        </pc:picChg>
        <pc:cxnChg chg="add mod">
          <ac:chgData name="Hillard, Laura" userId="fb6b425a-e8d9-473f-bcd9-e45358f5bb1d" providerId="ADAL" clId="{ED5B23FA-AB2C-498E-AB64-7CAD937BFAF4}" dt="2023-08-18T20:19:42.744" v="3940"/>
          <ac:cxnSpMkLst>
            <pc:docMk/>
            <pc:sldMk cId="816121738" sldId="2147472315"/>
            <ac:cxnSpMk id="3" creationId="{8AD40C87-0B2C-911D-B651-68316FD117F7}"/>
          </ac:cxnSpMkLst>
        </pc:cxnChg>
      </pc:sldChg>
      <pc:sldChg chg="add del">
        <pc:chgData name="Hillard, Laura" userId="fb6b425a-e8d9-473f-bcd9-e45358f5bb1d" providerId="ADAL" clId="{ED5B23FA-AB2C-498E-AB64-7CAD937BFAF4}" dt="2023-08-18T20:09:10.108" v="3768"/>
        <pc:sldMkLst>
          <pc:docMk/>
          <pc:sldMk cId="2272563609" sldId="2147472315"/>
        </pc:sldMkLst>
      </pc:sldChg>
      <pc:sldChg chg="add">
        <pc:chgData name="Hillard, Laura" userId="fb6b425a-e8d9-473f-bcd9-e45358f5bb1d" providerId="ADAL" clId="{ED5B23FA-AB2C-498E-AB64-7CAD937BFAF4}" dt="2023-08-18T20:11:51.582" v="3789" actId="2890"/>
        <pc:sldMkLst>
          <pc:docMk/>
          <pc:sldMk cId="414280482" sldId="2147472316"/>
        </pc:sldMkLst>
      </pc:sldChg>
      <pc:sldMasterChg chg="addSp delSp modSp mod">
        <pc:chgData name="Hillard, Laura" userId="fb6b425a-e8d9-473f-bcd9-e45358f5bb1d" providerId="ADAL" clId="{ED5B23FA-AB2C-498E-AB64-7CAD937BFAF4}" dt="2023-08-18T19:40:17.644" v="3264" actId="1035"/>
        <pc:sldMasterMkLst>
          <pc:docMk/>
          <pc:sldMasterMk cId="2289231735" sldId="2147483648"/>
        </pc:sldMasterMkLst>
        <pc:picChg chg="del mod">
          <ac:chgData name="Hillard, Laura" userId="fb6b425a-e8d9-473f-bcd9-e45358f5bb1d" providerId="ADAL" clId="{ED5B23FA-AB2C-498E-AB64-7CAD937BFAF4}" dt="2023-08-18T19:39:21.236" v="3254" actId="478"/>
          <ac:picMkLst>
            <pc:docMk/>
            <pc:sldMasterMk cId="2289231735" sldId="2147483648"/>
            <ac:picMk id="8" creationId="{BF30CADE-45F5-4871-A389-375F224D9D51}"/>
          </ac:picMkLst>
        </pc:picChg>
        <pc:picChg chg="add mod">
          <ac:chgData name="Hillard, Laura" userId="fb6b425a-e8d9-473f-bcd9-e45358f5bb1d" providerId="ADAL" clId="{ED5B23FA-AB2C-498E-AB64-7CAD937BFAF4}" dt="2023-08-18T19:40:17.644" v="3264" actId="1035"/>
          <ac:picMkLst>
            <pc:docMk/>
            <pc:sldMasterMk cId="2289231735" sldId="2147483648"/>
            <ac:picMk id="4098" creationId="{BA98088E-F284-CF57-AD2C-299601EFA424}"/>
          </ac:picMkLst>
        </pc:picChg>
      </pc:sldMasterChg>
      <pc:sldMasterChg chg="del delSldLayout">
        <pc:chgData name="Hillard, Laura" userId="fb6b425a-e8d9-473f-bcd9-e45358f5bb1d" providerId="ADAL" clId="{ED5B23FA-AB2C-498E-AB64-7CAD937BFAF4}" dt="2023-08-17T20:13:18.912" v="190" actId="47"/>
        <pc:sldMasterMkLst>
          <pc:docMk/>
          <pc:sldMasterMk cId="3081715138" sldId="2147483854"/>
        </pc:sldMasterMkLst>
        <pc:sldLayoutChg chg="del">
          <pc:chgData name="Hillard, Laura" userId="fb6b425a-e8d9-473f-bcd9-e45358f5bb1d" providerId="ADAL" clId="{ED5B23FA-AB2C-498E-AB64-7CAD937BFAF4}" dt="2023-08-17T20:13:18.912" v="190" actId="47"/>
          <pc:sldLayoutMkLst>
            <pc:docMk/>
            <pc:sldMasterMk cId="3081715138" sldId="2147483854"/>
            <pc:sldLayoutMk cId="437867551" sldId="214748385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630975065" sldId="214748385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753136201" sldId="214748385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377996537" sldId="214748385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102438318" sldId="214748385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200391528" sldId="214748386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159942511" sldId="214748386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639622871" sldId="214748386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550096866" sldId="214748386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495059294" sldId="214748386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887843374" sldId="214748386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305348489" sldId="214748386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954118629" sldId="214748386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379862073" sldId="214748386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128325844" sldId="214748386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883492764" sldId="214748387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0243464" sldId="214748387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101688776" sldId="214748387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18750587" sldId="214748387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807606259" sldId="214748387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849045208" sldId="214748387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739717398" sldId="214748387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813982479" sldId="214748387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20759460" sldId="214748387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328332439" sldId="214748387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1099963" sldId="214748388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937251553" sldId="214748388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974874716" sldId="214748388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849999371" sldId="214748388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511212879" sldId="214748388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59483388" sldId="214748388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024347523" sldId="214748388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282362414" sldId="214748388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252304513" sldId="214748388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748975068" sldId="214748388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577023982" sldId="214748389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712127910" sldId="214748389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643961475" sldId="214748389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074539528" sldId="214748389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46054210" sldId="214748389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71948286" sldId="214748389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683019498" sldId="214748389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810211808" sldId="214748389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288153037" sldId="214748389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396407688" sldId="214748389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081741441" sldId="214748390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041186967" sldId="214748390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374362242" sldId="214748390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749384195" sldId="214748390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966465023" sldId="214748390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28169045" sldId="214748390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493883926" sldId="214748390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959162599" sldId="214748390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089061482" sldId="214748390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460510207" sldId="214748390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022202148" sldId="214748391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626923988" sldId="214748391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10070300" sldId="214748391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097852982" sldId="214748391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874961556" sldId="214748391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512498565" sldId="214748391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878578420" sldId="214748391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769888409" sldId="214748391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088699077" sldId="214748391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152830670" sldId="214748391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327265509" sldId="214748392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560016337" sldId="214748392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005893508" sldId="214748392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073685888" sldId="214748392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425828506" sldId="214748392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19655299" sldId="214748392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087204390" sldId="214748392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490468729" sldId="214748392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804784729" sldId="214748392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925495827" sldId="214748392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945140116" sldId="214748393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519063072" sldId="214748393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100348808" sldId="214748393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68326397" sldId="214748393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412684154" sldId="214748393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92824326" sldId="214748393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334677855" sldId="214748393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632563827" sldId="214748393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915787884" sldId="214748393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534205962" sldId="214748393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313533287" sldId="2147483940"/>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089075074" sldId="2147483941"/>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487009442" sldId="2147483942"/>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982698392" sldId="2147483943"/>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2151405475" sldId="2147483944"/>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503593218" sldId="2147483945"/>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202430998" sldId="2147483946"/>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189677967" sldId="2147483947"/>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3816820969" sldId="2147483948"/>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338235564" sldId="2147483949"/>
          </pc:sldLayoutMkLst>
        </pc:sldLayoutChg>
        <pc:sldLayoutChg chg="del">
          <pc:chgData name="Hillard, Laura" userId="fb6b425a-e8d9-473f-bcd9-e45358f5bb1d" providerId="ADAL" clId="{ED5B23FA-AB2C-498E-AB64-7CAD937BFAF4}" dt="2023-08-17T20:13:18.912" v="190" actId="47"/>
          <pc:sldLayoutMkLst>
            <pc:docMk/>
            <pc:sldMasterMk cId="3081715138" sldId="2147483854"/>
            <pc:sldLayoutMk cId="175234232" sldId="2147483950"/>
          </pc:sldLayoutMkLst>
        </pc:sldLayoutChg>
      </pc:sldMasterChg>
      <pc:sldMasterChg chg="del delSldLayout">
        <pc:chgData name="Hillard, Laura" userId="fb6b425a-e8d9-473f-bcd9-e45358f5bb1d" providerId="ADAL" clId="{ED5B23FA-AB2C-498E-AB64-7CAD937BFAF4}" dt="2023-08-18T02:55:45.822" v="1771" actId="47"/>
        <pc:sldMasterMkLst>
          <pc:docMk/>
          <pc:sldMasterMk cId="2147289021" sldId="2147483992"/>
        </pc:sldMasterMkLst>
        <pc:sldLayoutChg chg="del">
          <pc:chgData name="Hillard, Laura" userId="fb6b425a-e8d9-473f-bcd9-e45358f5bb1d" providerId="ADAL" clId="{ED5B23FA-AB2C-498E-AB64-7CAD937BFAF4}" dt="2023-08-18T02:55:45.822" v="1771" actId="47"/>
          <pc:sldLayoutMkLst>
            <pc:docMk/>
            <pc:sldMasterMk cId="2147289021" sldId="2147483992"/>
            <pc:sldLayoutMk cId="736680752" sldId="2147483993"/>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2612229057" sldId="2147483994"/>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2620666657" sldId="2147483995"/>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1340511684" sldId="2147483996"/>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2981375626" sldId="2147483997"/>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2393084087" sldId="2147483998"/>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1325382451" sldId="2147483999"/>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3902652732" sldId="2147484000"/>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3364326408" sldId="2147484001"/>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2825549878" sldId="2147484002"/>
          </pc:sldLayoutMkLst>
        </pc:sldLayoutChg>
        <pc:sldLayoutChg chg="del">
          <pc:chgData name="Hillard, Laura" userId="fb6b425a-e8d9-473f-bcd9-e45358f5bb1d" providerId="ADAL" clId="{ED5B23FA-AB2C-498E-AB64-7CAD937BFAF4}" dt="2023-08-18T02:55:45.822" v="1771" actId="47"/>
          <pc:sldLayoutMkLst>
            <pc:docMk/>
            <pc:sldMasterMk cId="2147289021" sldId="2147483992"/>
            <pc:sldLayoutMk cId="3344772367" sldId="2147484003"/>
          </pc:sldLayoutMkLst>
        </pc:sldLayoutChg>
      </pc:sldMasterChg>
      <pc:sldMasterChg chg="delSldLayout">
        <pc:chgData name="Hillard, Laura" userId="fb6b425a-e8d9-473f-bcd9-e45358f5bb1d" providerId="ADAL" clId="{ED5B23FA-AB2C-498E-AB64-7CAD937BFAF4}" dt="2023-08-18T02:38:01.153" v="1003" actId="47"/>
        <pc:sldMasterMkLst>
          <pc:docMk/>
          <pc:sldMasterMk cId="3254737585" sldId="2147484016"/>
        </pc:sldMasterMkLst>
        <pc:sldLayoutChg chg="del">
          <pc:chgData name="Hillard, Laura" userId="fb6b425a-e8d9-473f-bcd9-e45358f5bb1d" providerId="ADAL" clId="{ED5B23FA-AB2C-498E-AB64-7CAD937BFAF4}" dt="2023-08-18T02:38:01.153" v="1003" actId="47"/>
          <pc:sldLayoutMkLst>
            <pc:docMk/>
            <pc:sldMasterMk cId="3254737585" sldId="2147484016"/>
            <pc:sldLayoutMk cId="4050477031" sldId="2147484801"/>
          </pc:sldLayoutMkLst>
        </pc:sldLayoutChg>
      </pc:sldMasterChg>
      <pc:sldMasterChg chg="del delSldLayout">
        <pc:chgData name="Hillard, Laura" userId="fb6b425a-e8d9-473f-bcd9-e45358f5bb1d" providerId="ADAL" clId="{ED5B23FA-AB2C-498E-AB64-7CAD937BFAF4}" dt="2023-08-18T19:43:39.233" v="3287" actId="47"/>
        <pc:sldMasterMkLst>
          <pc:docMk/>
          <pc:sldMasterMk cId="3843781788" sldId="2147484112"/>
        </pc:sldMasterMkLst>
        <pc:sldLayoutChg chg="del">
          <pc:chgData name="Hillard, Laura" userId="fb6b425a-e8d9-473f-bcd9-e45358f5bb1d" providerId="ADAL" clId="{ED5B23FA-AB2C-498E-AB64-7CAD937BFAF4}" dt="2023-08-18T19:43:39.233" v="3287" actId="47"/>
          <pc:sldLayoutMkLst>
            <pc:docMk/>
            <pc:sldMasterMk cId="3843781788" sldId="2147484112"/>
            <pc:sldLayoutMk cId="649022800" sldId="214748411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429605182" sldId="214748411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076847503" sldId="214748411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088037607" sldId="214748411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995648343" sldId="214748411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771377498" sldId="214748411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11939559" sldId="214748411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451213962" sldId="214748412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241151739" sldId="214748412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340179832" sldId="214748412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175616852" sldId="214748412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925554857" sldId="214748412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601177838" sldId="214748412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064536171" sldId="214748412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441676427" sldId="214748412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743144575" sldId="214748412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213357096" sldId="214748412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953551965" sldId="214748413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281746474" sldId="214748413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784990293" sldId="214748413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963147867" sldId="214748413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901085132" sldId="214748413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368547413" sldId="214748413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168014811" sldId="214748413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903920384" sldId="214748413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294896776" sldId="214748413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537144439" sldId="214748413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339040210" sldId="214748414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58406106" sldId="214748414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277492867" sldId="214748414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924131545" sldId="214748414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50526738" sldId="214748414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573271826" sldId="214748414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412581190" sldId="214748414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805797508" sldId="214748414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329952124" sldId="214748414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774757809" sldId="214748414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395624196" sldId="214748415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768927202" sldId="214748415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582804207" sldId="214748415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81335538" sldId="214748415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023162076" sldId="214748415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615654686" sldId="214748415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332818421" sldId="214748415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944656509" sldId="214748415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426986912" sldId="214748415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766886442" sldId="214748415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718207702" sldId="214748416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518988398" sldId="214748416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693519893" sldId="214748416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106751101" sldId="214748416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785031700" sldId="214748416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581656334" sldId="214748416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096484322" sldId="214748416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251865077" sldId="214748416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34440063" sldId="214748416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811569057" sldId="214748416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064775784" sldId="214748417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59799392" sldId="214748417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670340003" sldId="214748417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343949515" sldId="214748417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133430208" sldId="214748417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36719738" sldId="214748417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779237272" sldId="214748417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962579307" sldId="214748417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202955" sldId="214748417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124710084" sldId="214748417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457864374" sldId="214748418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14964762" sldId="214748418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539970961" sldId="214748418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42204715" sldId="214748418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122967836" sldId="214748418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41674257" sldId="214748418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214347344" sldId="214748418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435213376" sldId="214748418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127059984" sldId="214748418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94098176" sldId="214748418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127387054" sldId="214748419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287876394" sldId="214748419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030353250" sldId="214748419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498639680" sldId="214748419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349482674" sldId="214748419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93215835" sldId="214748419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70666243" sldId="214748419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691944716" sldId="2147484197"/>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613622611" sldId="2147484198"/>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065453128" sldId="2147484199"/>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4181272419" sldId="2147484200"/>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579315610" sldId="2147484201"/>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995210031" sldId="2147484202"/>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920840336" sldId="2147484203"/>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615004496" sldId="2147484204"/>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2060181886" sldId="2147484205"/>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3976271027" sldId="2147484206"/>
          </pc:sldLayoutMkLst>
        </pc:sldLayoutChg>
        <pc:sldLayoutChg chg="del">
          <pc:chgData name="Hillard, Laura" userId="fb6b425a-e8d9-473f-bcd9-e45358f5bb1d" providerId="ADAL" clId="{ED5B23FA-AB2C-498E-AB64-7CAD937BFAF4}" dt="2023-08-18T19:43:39.233" v="3287" actId="47"/>
          <pc:sldLayoutMkLst>
            <pc:docMk/>
            <pc:sldMasterMk cId="3843781788" sldId="2147484112"/>
            <pc:sldLayoutMk cId="1530503274" sldId="2147484207"/>
          </pc:sldLayoutMkLst>
        </pc:sldLayoutChg>
      </pc:sldMasterChg>
      <pc:sldMasterChg chg="del delSldLayout">
        <pc:chgData name="Hillard, Laura" userId="fb6b425a-e8d9-473f-bcd9-e45358f5bb1d" providerId="ADAL" clId="{ED5B23FA-AB2C-498E-AB64-7CAD937BFAF4}" dt="2023-08-18T03:16:32.249" v="2451" actId="47"/>
        <pc:sldMasterMkLst>
          <pc:docMk/>
          <pc:sldMasterMk cId="1192190688" sldId="2147484208"/>
        </pc:sldMasterMkLst>
        <pc:sldLayoutChg chg="del">
          <pc:chgData name="Hillard, Laura" userId="fb6b425a-e8d9-473f-bcd9-e45358f5bb1d" providerId="ADAL" clId="{ED5B23FA-AB2C-498E-AB64-7CAD937BFAF4}" dt="2023-08-18T03:16:32.249" v="2451" actId="47"/>
          <pc:sldLayoutMkLst>
            <pc:docMk/>
            <pc:sldMasterMk cId="1192190688" sldId="2147484208"/>
            <pc:sldLayoutMk cId="1238221057" sldId="214748420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310180487" sldId="214748421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4194226716" sldId="214748421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420829647" sldId="214748421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646229457" sldId="214748421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965959592" sldId="214748421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926321298" sldId="214748421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4115031620" sldId="214748421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4203289161" sldId="214748421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998103204" sldId="214748421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940706307" sldId="214748421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055949557" sldId="214748422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378902795" sldId="214748422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4285937852" sldId="214748422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520988028" sldId="214748422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256433088" sldId="214748422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798032613" sldId="214748422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139388226" sldId="214748422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567843917" sldId="214748422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903098041" sldId="214748422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450175187" sldId="214748422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478970670" sldId="214748423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709643112" sldId="214748423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515436400" sldId="214748423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789598654" sldId="214748423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210371717" sldId="214748423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357750509" sldId="214748423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734065533" sldId="214748423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811359500" sldId="214748423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096562779" sldId="214748423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322028718" sldId="214748423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924679584" sldId="214748424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662961115" sldId="214748424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967809262" sldId="214748424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551276128" sldId="214748424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450280108" sldId="214748424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555195107" sldId="214748424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142729111" sldId="214748424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396612194" sldId="214748424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796164919" sldId="214748424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780351785" sldId="214748424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196904737" sldId="214748425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713304989" sldId="214748425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437369431" sldId="214748425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668582621" sldId="214748425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450636984" sldId="214748425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463132526" sldId="214748425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463591216" sldId="214748425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619400158" sldId="214748425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411682753" sldId="214748425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540526626" sldId="214748425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416694956" sldId="214748426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784871797" sldId="214748426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44260982" sldId="214748426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698444013" sldId="214748426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89376413" sldId="214748426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348139423" sldId="214748426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179609616" sldId="214748426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142479362" sldId="214748426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863952791" sldId="214748426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4269690123" sldId="214748426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522280586" sldId="214748427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887405418" sldId="214748427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062638957" sldId="214748427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624286093" sldId="214748427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7392521" sldId="214748427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291559619" sldId="214748427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628017934" sldId="214748427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610336582" sldId="214748427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110614962" sldId="214748427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666890889" sldId="214748427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557651575" sldId="214748428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851565324" sldId="214748428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130821345" sldId="214748428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782620384" sldId="214748428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606099845" sldId="214748428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689905364" sldId="214748428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867612993" sldId="214748428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76203519" sldId="214748428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825032255" sldId="214748428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418489501" sldId="214748428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154256311" sldId="214748429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08795219" sldId="214748429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848495952" sldId="214748429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478204982" sldId="2147484293"/>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865582179" sldId="2147484294"/>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675395502" sldId="2147484295"/>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903957794" sldId="2147484296"/>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250162861" sldId="2147484297"/>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1242685077" sldId="2147484298"/>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690243751" sldId="2147484299"/>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530188769" sldId="2147484300"/>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3441445040" sldId="2147484301"/>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486653326" sldId="2147484302"/>
          </pc:sldLayoutMkLst>
        </pc:sldLayoutChg>
        <pc:sldLayoutChg chg="del">
          <pc:chgData name="Hillard, Laura" userId="fb6b425a-e8d9-473f-bcd9-e45358f5bb1d" providerId="ADAL" clId="{ED5B23FA-AB2C-498E-AB64-7CAD937BFAF4}" dt="2023-08-18T03:16:32.249" v="2451" actId="47"/>
          <pc:sldLayoutMkLst>
            <pc:docMk/>
            <pc:sldMasterMk cId="1192190688" sldId="2147484208"/>
            <pc:sldLayoutMk cId="2356935283" sldId="2147484303"/>
          </pc:sldLayoutMkLst>
        </pc:sldLayoutChg>
      </pc:sldMasterChg>
      <pc:sldMasterChg chg="del delSldLayout">
        <pc:chgData name="Hillard, Laura" userId="fb6b425a-e8d9-473f-bcd9-e45358f5bb1d" providerId="ADAL" clId="{ED5B23FA-AB2C-498E-AB64-7CAD937BFAF4}" dt="2023-08-17T20:38:58.712" v="527" actId="47"/>
        <pc:sldMasterMkLst>
          <pc:docMk/>
          <pc:sldMasterMk cId="2765511882" sldId="2147484304"/>
        </pc:sldMasterMkLst>
        <pc:sldLayoutChg chg="del">
          <pc:chgData name="Hillard, Laura" userId="fb6b425a-e8d9-473f-bcd9-e45358f5bb1d" providerId="ADAL" clId="{ED5B23FA-AB2C-498E-AB64-7CAD937BFAF4}" dt="2023-08-17T20:38:58.712" v="527" actId="47"/>
          <pc:sldLayoutMkLst>
            <pc:docMk/>
            <pc:sldMasterMk cId="2765511882" sldId="2147484304"/>
            <pc:sldLayoutMk cId="448164855" sldId="214748430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141027232" sldId="214748430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896838530" sldId="214748430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575977825" sldId="214748430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978294537" sldId="214748430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110496205" sldId="214748431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612018058" sldId="214748431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529857377" sldId="214748431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947130972" sldId="214748431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698419171" sldId="214748431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894689191" sldId="214748431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595226800" sldId="214748431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142396850" sldId="214748431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044952329" sldId="214748431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510073743" sldId="214748431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4051470486" sldId="214748432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566582847" sldId="214748432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851502765" sldId="214748432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115989704" sldId="214748432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764087729" sldId="214748432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002148698" sldId="214748432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283346433" sldId="214748432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567854183" sldId="214748432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027460664" sldId="214748432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937511336" sldId="214748432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075853542" sldId="214748433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275967643" sldId="214748433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07134542" sldId="214748433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921364424" sldId="214748433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697092753" sldId="214748433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661286650" sldId="214748433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669960846" sldId="214748433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547923437" sldId="214748433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615862058" sldId="214748433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236035369" sldId="214748433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672903728" sldId="214748434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74922160" sldId="214748434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957781538" sldId="214748434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203782169" sldId="214748434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308342066" sldId="214748434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5105282" sldId="214748434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988173348" sldId="214748434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128142916" sldId="214748434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589704879" sldId="214748434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63922062" sldId="214748434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652516440" sldId="214748435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971238067" sldId="214748435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52779864" sldId="214748435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4069915041" sldId="214748435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600152306" sldId="214748435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799384896" sldId="214748435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322583516" sldId="214748435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927216184" sldId="214748435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003603851" sldId="214748435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909512595" sldId="214748435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928018391" sldId="214748436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964794587" sldId="214748436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4109532392" sldId="214748436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564777010" sldId="214748436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26274792" sldId="214748436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558633484" sldId="214748436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204078729" sldId="214748436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509984330" sldId="214748436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054231156" sldId="214748436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403942037" sldId="214748436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085956074" sldId="214748437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553150659" sldId="214748437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895720960" sldId="214748437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532464956" sldId="214748437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742238706" sldId="214748437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765898611" sldId="214748437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327653535" sldId="214748437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137309118" sldId="214748437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908050485" sldId="214748437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655597449" sldId="214748437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110399803" sldId="214748438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340431688" sldId="214748438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1393788416" sldId="214748438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538369897" sldId="214748438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4139094084" sldId="214748438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405571413" sldId="214748438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980675187" sldId="214748438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889493719" sldId="214748438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91841512" sldId="214748438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284732513" sldId="2147484389"/>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383414415" sldId="2147484390"/>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547048774" sldId="2147484391"/>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100666732" sldId="2147484392"/>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284120931" sldId="2147484393"/>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841286973" sldId="2147484394"/>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189857282" sldId="2147484395"/>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83911136" sldId="2147484396"/>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144645466" sldId="2147484397"/>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3062950552" sldId="2147484398"/>
          </pc:sldLayoutMkLst>
        </pc:sldLayoutChg>
        <pc:sldLayoutChg chg="del">
          <pc:chgData name="Hillard, Laura" userId="fb6b425a-e8d9-473f-bcd9-e45358f5bb1d" providerId="ADAL" clId="{ED5B23FA-AB2C-498E-AB64-7CAD937BFAF4}" dt="2023-08-17T20:38:58.712" v="527" actId="47"/>
          <pc:sldLayoutMkLst>
            <pc:docMk/>
            <pc:sldMasterMk cId="2765511882" sldId="2147484304"/>
            <pc:sldLayoutMk cId="2773745652" sldId="2147484399"/>
          </pc:sldLayoutMkLst>
        </pc:sldLayoutChg>
      </pc:sldMasterChg>
      <pc:sldMasterChg chg="del delSldLayout">
        <pc:chgData name="Hillard, Laura" userId="fb6b425a-e8d9-473f-bcd9-e45358f5bb1d" providerId="ADAL" clId="{ED5B23FA-AB2C-498E-AB64-7CAD937BFAF4}" dt="2023-08-18T19:41:00.644" v="3275" actId="47"/>
        <pc:sldMasterMkLst>
          <pc:docMk/>
          <pc:sldMasterMk cId="2888915491" sldId="2147484400"/>
        </pc:sldMasterMkLst>
        <pc:sldLayoutChg chg="del">
          <pc:chgData name="Hillard, Laura" userId="fb6b425a-e8d9-473f-bcd9-e45358f5bb1d" providerId="ADAL" clId="{ED5B23FA-AB2C-498E-AB64-7CAD937BFAF4}" dt="2023-08-18T19:41:00.644" v="3275" actId="47"/>
          <pc:sldLayoutMkLst>
            <pc:docMk/>
            <pc:sldMasterMk cId="2888915491" sldId="2147484400"/>
            <pc:sldLayoutMk cId="2915269233" sldId="214748440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257140349" sldId="214748440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280792345" sldId="214748440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724678269" sldId="214748440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355504199" sldId="214748440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572376293" sldId="214748440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075346187" sldId="214748440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508184037" sldId="214748440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632312679" sldId="214748440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916019957" sldId="214748441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437680530" sldId="214748441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177203711" sldId="214748441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4253430861" sldId="214748441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136950981" sldId="214748441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922683126" sldId="214748441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056483849" sldId="214748441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310138385" sldId="214748441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859111405" sldId="214748441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583017279" sldId="214748441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4116047997" sldId="214748442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651865868" sldId="214748442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952688161" sldId="214748442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992389957" sldId="214748442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450859347" sldId="214748442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138253548" sldId="214748442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811992206" sldId="214748442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357802401" sldId="214748442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431529434" sldId="214748442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383553856" sldId="214748442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245912663" sldId="214748443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9027619" sldId="214748443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138729123" sldId="214748443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17438954" sldId="214748443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801765096" sldId="214748443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710463888" sldId="214748443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789796480" sldId="214748443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747805696" sldId="214748443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330256312" sldId="214748443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757547675" sldId="214748443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13463645" sldId="214748444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837461934" sldId="214748444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473075709" sldId="214748444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519972733" sldId="214748444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091008424" sldId="214748444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607667837" sldId="214748444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072046482" sldId="214748444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962354765" sldId="214748444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356344826" sldId="214748444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516472114" sldId="214748444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838851264" sldId="214748445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66870773" sldId="214748445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805811835" sldId="214748445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963560993" sldId="214748445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4266752167" sldId="214748445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256412595" sldId="214748445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927267363" sldId="214748445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804075733" sldId="214748445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523612408" sldId="214748445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590791762" sldId="214748445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886065137" sldId="214748446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048564169" sldId="214748446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963796998" sldId="214748446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704812371" sldId="214748446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747069018" sldId="214748446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812639949" sldId="214748446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410952127" sldId="214748446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772664447" sldId="214748446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4283468532" sldId="214748446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664916398" sldId="214748446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094506182" sldId="214748447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689314968" sldId="214748447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25271824" sldId="214748447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410046103" sldId="214748447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477775153" sldId="214748447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327462304" sldId="214748447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340394441" sldId="214748447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100984473" sldId="214748447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521943198" sldId="214748447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552639885" sldId="214748447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107418676" sldId="214748448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123296462" sldId="214748448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891648232" sldId="214748448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376617884" sldId="214748448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134418144" sldId="214748448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126355013" sldId="2147484485"/>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459432064" sldId="2147484486"/>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4037923164" sldId="2147484487"/>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600322278" sldId="2147484488"/>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410537483" sldId="2147484489"/>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3322614146" sldId="2147484490"/>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672959420" sldId="2147484491"/>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985710029" sldId="2147484492"/>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105996450" sldId="2147484493"/>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957201414" sldId="2147484494"/>
          </pc:sldLayoutMkLst>
        </pc:sldLayoutChg>
        <pc:sldLayoutChg chg="del">
          <pc:chgData name="Hillard, Laura" userId="fb6b425a-e8d9-473f-bcd9-e45358f5bb1d" providerId="ADAL" clId="{ED5B23FA-AB2C-498E-AB64-7CAD937BFAF4}" dt="2023-08-18T19:41:00.644" v="3275" actId="47"/>
          <pc:sldLayoutMkLst>
            <pc:docMk/>
            <pc:sldMasterMk cId="2888915491" sldId="2147484400"/>
            <pc:sldLayoutMk cId="2205508060" sldId="2147484495"/>
          </pc:sldLayoutMkLst>
        </pc:sldLayoutChg>
      </pc:sldMasterChg>
      <pc:sldMasterChg chg="del delSldLayout">
        <pc:chgData name="Hillard, Laura" userId="fb6b425a-e8d9-473f-bcd9-e45358f5bb1d" providerId="ADAL" clId="{ED5B23FA-AB2C-498E-AB64-7CAD937BFAF4}" dt="2023-08-18T19:04:04.938" v="3030" actId="47"/>
        <pc:sldMasterMkLst>
          <pc:docMk/>
          <pc:sldMasterMk cId="1764978835" sldId="2147484801"/>
        </pc:sldMasterMkLst>
        <pc:sldLayoutChg chg="del">
          <pc:chgData name="Hillard, Laura" userId="fb6b425a-e8d9-473f-bcd9-e45358f5bb1d" providerId="ADAL" clId="{ED5B23FA-AB2C-498E-AB64-7CAD937BFAF4}" dt="2023-08-18T19:04:04.938" v="3030" actId="47"/>
          <pc:sldLayoutMkLst>
            <pc:docMk/>
            <pc:sldMasterMk cId="1764978835" sldId="2147484801"/>
            <pc:sldLayoutMk cId="4294025542" sldId="214748480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439561806" sldId="214748480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836552497" sldId="214748480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510675613" sldId="214748480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637871933" sldId="214748480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894671035" sldId="214748480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567329858" sldId="214748480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762195322" sldId="214748480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387769186" sldId="214748481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262643121" sldId="214748481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14934379" sldId="214748481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703611164" sldId="214748481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282715564" sldId="214748481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075997511" sldId="214748481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457409199" sldId="214748481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904902982" sldId="214748481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586987132" sldId="214748481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663447566" sldId="214748481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744888434" sldId="214748482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910002272" sldId="214748482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893490385" sldId="214748482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791041662" sldId="214748482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045291973" sldId="214748482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24885182" sldId="214748482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735217934" sldId="214748482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299972111" sldId="214748482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934921148" sldId="214748482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67256784" sldId="214748482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147109109" sldId="214748483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267282339" sldId="214748483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156345529" sldId="214748483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377457399" sldId="214748483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89473128" sldId="214748483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57794550" sldId="214748483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899997943" sldId="214748483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522031605" sldId="214748483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412430791" sldId="214748483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459342616" sldId="214748483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012189964" sldId="214748484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64485427" sldId="214748484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27509081" sldId="214748484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478327646" sldId="214748484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534120800" sldId="214748484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661035450" sldId="214748484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06870884" sldId="214748484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565701452" sldId="214748484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903198465" sldId="214748484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715190198" sldId="214748484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7491716" sldId="214748485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46099808" sldId="214748485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821113591" sldId="214748485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803463907" sldId="214748485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200451567" sldId="214748485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97554413" sldId="214748485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337377680" sldId="214748485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72746284" sldId="214748485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014562011" sldId="214748485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260176648" sldId="214748485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583394049" sldId="214748486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886125903" sldId="214748486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441565469" sldId="214748486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976800433" sldId="214748486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92857881" sldId="214748486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290621603" sldId="214748486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31269289" sldId="214748486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875065565" sldId="214748486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054340119" sldId="214748486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769529844" sldId="214748486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535173218" sldId="214748487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005479396" sldId="214748487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971858518" sldId="214748487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139608298" sldId="214748487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868044582" sldId="214748487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14954530" sldId="214748487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279169812" sldId="214748487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380962759" sldId="214748487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973074753" sldId="214748487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572355971" sldId="214748487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13070334" sldId="214748488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15381457" sldId="214748488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359262007" sldId="214748488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191756869" sldId="214748488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561288222" sldId="214748488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512912100" sldId="214748488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245114785" sldId="214748488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255220395" sldId="214748488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115487880" sldId="214748488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455391096" sldId="214748488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088424001" sldId="214748489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845459428" sldId="214748489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06344331" sldId="214748489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278671038" sldId="214748489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012473826" sldId="214748489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674882239" sldId="214748489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011128444" sldId="214748489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323700955" sldId="214748489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514665372" sldId="214748489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878927944" sldId="214748489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02505587" sldId="214748490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999822648" sldId="214748490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676722871" sldId="214748490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161697927" sldId="214748490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350015703" sldId="214748490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528650356" sldId="214748490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101909115" sldId="214748490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57572463" sldId="214748490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673142866" sldId="214748490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868233000" sldId="214748490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628013307" sldId="214748491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197981960" sldId="214748491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584626588" sldId="214748491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22847230" sldId="214748491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290861724" sldId="214748491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819368374" sldId="214748491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761225637" sldId="214748491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59115842" sldId="214748491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10600669" sldId="214748491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270123310" sldId="214748491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903189165" sldId="214748492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777996048" sldId="214748492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895262025" sldId="214748492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76389193" sldId="214748492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19924735" sldId="214748492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919697941" sldId="214748492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731618252" sldId="214748492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257352924" sldId="214748492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162004346" sldId="214748492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968674646" sldId="214748492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970478807" sldId="214748493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021096677" sldId="2147484931"/>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893640293" sldId="2147484932"/>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684366102" sldId="2147484933"/>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060668380" sldId="2147484934"/>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87111475" sldId="2147484935"/>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3755981932" sldId="2147484936"/>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950817456" sldId="2147484937"/>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4198592555" sldId="2147484938"/>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1007719325" sldId="2147484939"/>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115174997" sldId="2147484940"/>
          </pc:sldLayoutMkLst>
        </pc:sldLayoutChg>
        <pc:sldLayoutChg chg="del">
          <pc:chgData name="Hillard, Laura" userId="fb6b425a-e8d9-473f-bcd9-e45358f5bb1d" providerId="ADAL" clId="{ED5B23FA-AB2C-498E-AB64-7CAD937BFAF4}" dt="2023-08-18T19:04:04.938" v="3030" actId="47"/>
          <pc:sldLayoutMkLst>
            <pc:docMk/>
            <pc:sldMasterMk cId="1764978835" sldId="2147484801"/>
            <pc:sldLayoutMk cId="2839266643" sldId="2147484941"/>
          </pc:sldLayoutMkLst>
        </pc:sldLayoutChg>
      </pc:sldMasterChg>
    </pc:docChg>
  </pc:docChgLst>
  <pc:docChgLst>
    <pc:chgData name="Hillard, Laura" userId="fb6b425a-e8d9-473f-bcd9-e45358f5bb1d" providerId="ADAL" clId="{94715EC2-FCA7-4490-89BE-4C1408F0C01A}"/>
    <pc:docChg chg="undo custSel modSld">
      <pc:chgData name="Hillard, Laura" userId="fb6b425a-e8d9-473f-bcd9-e45358f5bb1d" providerId="ADAL" clId="{94715EC2-FCA7-4490-89BE-4C1408F0C01A}" dt="2024-01-03T14:25:17.626" v="491" actId="20577"/>
      <pc:docMkLst>
        <pc:docMk/>
      </pc:docMkLst>
      <pc:sldChg chg="addCm">
        <pc:chgData name="Hillard, Laura" userId="fb6b425a-e8d9-473f-bcd9-e45358f5bb1d" providerId="ADAL" clId="{94715EC2-FCA7-4490-89BE-4C1408F0C01A}" dt="2024-01-02T21:39:17.970" v="397"/>
        <pc:sldMkLst>
          <pc:docMk/>
          <pc:sldMk cId="3183095165" sldId="2147472311"/>
        </pc:sldMkLst>
      </pc:sldChg>
      <pc:sldChg chg="modSp mod addCm modCm">
        <pc:chgData name="Hillard, Laura" userId="fb6b425a-e8d9-473f-bcd9-e45358f5bb1d" providerId="ADAL" clId="{94715EC2-FCA7-4490-89BE-4C1408F0C01A}" dt="2024-01-03T14:25:17.626" v="491" actId="20577"/>
        <pc:sldMkLst>
          <pc:docMk/>
          <pc:sldMk cId="402946131" sldId="2147472314"/>
        </pc:sldMkLst>
        <pc:spChg chg="mod">
          <ac:chgData name="Hillard, Laura" userId="fb6b425a-e8d9-473f-bcd9-e45358f5bb1d" providerId="ADAL" clId="{94715EC2-FCA7-4490-89BE-4C1408F0C01A}" dt="2024-01-03T14:25:17.626" v="491" actId="20577"/>
          <ac:spMkLst>
            <pc:docMk/>
            <pc:sldMk cId="402946131" sldId="2147472314"/>
            <ac:spMk id="3" creationId="{802F4057-D21A-82FD-C579-A946465549FD}"/>
          </ac:spMkLst>
        </pc:spChg>
      </pc:sldChg>
      <pc:sldChg chg="addCm">
        <pc:chgData name="Hillard, Laura" userId="fb6b425a-e8d9-473f-bcd9-e45358f5bb1d" providerId="ADAL" clId="{94715EC2-FCA7-4490-89BE-4C1408F0C01A}" dt="2024-01-03T14:19:31.827" v="399"/>
        <pc:sldMkLst>
          <pc:docMk/>
          <pc:sldMk cId="1747163129" sldId="2147472321"/>
        </pc:sldMkLst>
      </pc:sldChg>
      <pc:sldChg chg="modSp mod modCm">
        <pc:chgData name="Hillard, Laura" userId="fb6b425a-e8d9-473f-bcd9-e45358f5bb1d" providerId="ADAL" clId="{94715EC2-FCA7-4490-89BE-4C1408F0C01A}" dt="2024-01-02T21:19:57.207" v="109" actId="20577"/>
        <pc:sldMkLst>
          <pc:docMk/>
          <pc:sldMk cId="3718155455" sldId="2147472328"/>
        </pc:sldMkLst>
        <pc:spChg chg="mod">
          <ac:chgData name="Hillard, Laura" userId="fb6b425a-e8d9-473f-bcd9-e45358f5bb1d" providerId="ADAL" clId="{94715EC2-FCA7-4490-89BE-4C1408F0C01A}" dt="2024-01-02T21:19:57.207" v="109" actId="20577"/>
          <ac:spMkLst>
            <pc:docMk/>
            <pc:sldMk cId="3718155455" sldId="2147472328"/>
            <ac:spMk id="3" creationId="{1ABEB552-FC05-4726-8630-22111FC75C23}"/>
          </ac:spMkLst>
        </pc:spChg>
      </pc:sldChg>
      <pc:sldChg chg="addCm modCm">
        <pc:chgData name="Hillard, Laura" userId="fb6b425a-e8d9-473f-bcd9-e45358f5bb1d" providerId="ADAL" clId="{94715EC2-FCA7-4490-89BE-4C1408F0C01A}" dt="2024-01-03T14:22:21.671" v="408"/>
        <pc:sldMkLst>
          <pc:docMk/>
          <pc:sldMk cId="3714781665" sldId="2147472384"/>
        </pc:sldMkLst>
      </pc:sldChg>
      <pc:sldChg chg="modSp mod">
        <pc:chgData name="Hillard, Laura" userId="fb6b425a-e8d9-473f-bcd9-e45358f5bb1d" providerId="ADAL" clId="{94715EC2-FCA7-4490-89BE-4C1408F0C01A}" dt="2024-01-02T21:24:43.965" v="113" actId="20577"/>
        <pc:sldMkLst>
          <pc:docMk/>
          <pc:sldMk cId="1640810849" sldId="2147472385"/>
        </pc:sldMkLst>
        <pc:spChg chg="mod">
          <ac:chgData name="Hillard, Laura" userId="fb6b425a-e8d9-473f-bcd9-e45358f5bb1d" providerId="ADAL" clId="{94715EC2-FCA7-4490-89BE-4C1408F0C01A}" dt="2024-01-02T21:24:43.965" v="113" actId="20577"/>
          <ac:spMkLst>
            <pc:docMk/>
            <pc:sldMk cId="1640810849" sldId="2147472385"/>
            <ac:spMk id="4" creationId="{00BAD554-4BA6-9B46-C0DC-B4131B2F0143}"/>
          </ac:spMkLst>
        </pc:spChg>
      </pc:sldChg>
      <pc:sldChg chg="modSp mod">
        <pc:chgData name="Hillard, Laura" userId="fb6b425a-e8d9-473f-bcd9-e45358f5bb1d" providerId="ADAL" clId="{94715EC2-FCA7-4490-89BE-4C1408F0C01A}" dt="2024-01-03T14:20:36.535" v="402" actId="21"/>
        <pc:sldMkLst>
          <pc:docMk/>
          <pc:sldMk cId="1758831762" sldId="2147472387"/>
        </pc:sldMkLst>
        <pc:spChg chg="mod">
          <ac:chgData name="Hillard, Laura" userId="fb6b425a-e8d9-473f-bcd9-e45358f5bb1d" providerId="ADAL" clId="{94715EC2-FCA7-4490-89BE-4C1408F0C01A}" dt="2024-01-03T14:20:36.535" v="402" actId="21"/>
          <ac:spMkLst>
            <pc:docMk/>
            <pc:sldMk cId="1758831762" sldId="2147472387"/>
            <ac:spMk id="8" creationId="{CFFD6CDD-B17F-5326-5ED1-CB1A9404D6C0}"/>
          </ac:spMkLst>
        </pc:spChg>
        <pc:spChg chg="mod">
          <ac:chgData name="Hillard, Laura" userId="fb6b425a-e8d9-473f-bcd9-e45358f5bb1d" providerId="ADAL" clId="{94715EC2-FCA7-4490-89BE-4C1408F0C01A}" dt="2024-01-02T21:28:17.667" v="158" actId="20577"/>
          <ac:spMkLst>
            <pc:docMk/>
            <pc:sldMk cId="1758831762" sldId="2147472387"/>
            <ac:spMk id="10" creationId="{4E1D30F1-2CF8-56E6-473D-CEACD5D5DC75}"/>
          </ac:spMkLst>
        </pc:spChg>
      </pc:sldChg>
      <pc:sldChg chg="modSp mod addCm modCm">
        <pc:chgData name="Hillard, Laura" userId="fb6b425a-e8d9-473f-bcd9-e45358f5bb1d" providerId="ADAL" clId="{94715EC2-FCA7-4490-89BE-4C1408F0C01A}" dt="2024-01-03T14:21:31.803" v="407"/>
        <pc:sldMkLst>
          <pc:docMk/>
          <pc:sldMk cId="2372328824" sldId="2147472388"/>
        </pc:sldMkLst>
        <pc:spChg chg="mod">
          <ac:chgData name="Hillard, Laura" userId="fb6b425a-e8d9-473f-bcd9-e45358f5bb1d" providerId="ADAL" clId="{94715EC2-FCA7-4490-89BE-4C1408F0C01A}" dt="2024-01-03T14:20:44.369" v="406" actId="20577"/>
          <ac:spMkLst>
            <pc:docMk/>
            <pc:sldMk cId="2372328824" sldId="2147472388"/>
            <ac:spMk id="4" creationId="{00BAD554-4BA6-9B46-C0DC-B4131B2F0143}"/>
          </ac:spMkLst>
        </pc:spChg>
      </pc:sldChg>
      <pc:sldChg chg="addCm modCm">
        <pc:chgData name="Hillard, Laura" userId="fb6b425a-e8d9-473f-bcd9-e45358f5bb1d" providerId="ADAL" clId="{94715EC2-FCA7-4490-89BE-4C1408F0C01A}" dt="2024-01-03T14:19:55.877" v="400"/>
        <pc:sldMkLst>
          <pc:docMk/>
          <pc:sldMk cId="1472917968" sldId="2147472389"/>
        </pc:sldMkLst>
      </pc:sldChg>
      <pc:sldChg chg="delSp modSp mod">
        <pc:chgData name="Hillard, Laura" userId="fb6b425a-e8d9-473f-bcd9-e45358f5bb1d" providerId="ADAL" clId="{94715EC2-FCA7-4490-89BE-4C1408F0C01A}" dt="2024-01-02T21:35:56.105" v="363" actId="1076"/>
        <pc:sldMkLst>
          <pc:docMk/>
          <pc:sldMk cId="3161780041" sldId="2147472390"/>
        </pc:sldMkLst>
        <pc:spChg chg="mod">
          <ac:chgData name="Hillard, Laura" userId="fb6b425a-e8d9-473f-bcd9-e45358f5bb1d" providerId="ADAL" clId="{94715EC2-FCA7-4490-89BE-4C1408F0C01A}" dt="2024-01-02T21:32:17.757" v="162" actId="20577"/>
          <ac:spMkLst>
            <pc:docMk/>
            <pc:sldMk cId="3161780041" sldId="2147472390"/>
            <ac:spMk id="10" creationId="{4E1D30F1-2CF8-56E6-473D-CEACD5D5DC75}"/>
          </ac:spMkLst>
        </pc:spChg>
        <pc:picChg chg="del mod">
          <ac:chgData name="Hillard, Laura" userId="fb6b425a-e8d9-473f-bcd9-e45358f5bb1d" providerId="ADAL" clId="{94715EC2-FCA7-4490-89BE-4C1408F0C01A}" dt="2024-01-02T21:35:52.623" v="361" actId="478"/>
          <ac:picMkLst>
            <pc:docMk/>
            <pc:sldMk cId="3161780041" sldId="2147472390"/>
            <ac:picMk id="6" creationId="{84884879-E56C-5449-06DC-399EF9EE9681}"/>
          </ac:picMkLst>
        </pc:picChg>
        <pc:picChg chg="mod">
          <ac:chgData name="Hillard, Laura" userId="fb6b425a-e8d9-473f-bcd9-e45358f5bb1d" providerId="ADAL" clId="{94715EC2-FCA7-4490-89BE-4C1408F0C01A}" dt="2024-01-02T21:35:54.347" v="362" actId="1076"/>
          <ac:picMkLst>
            <pc:docMk/>
            <pc:sldMk cId="3161780041" sldId="2147472390"/>
            <ac:picMk id="9" creationId="{821F43D6-D4C3-707F-4818-A75873DB3F84}"/>
          </ac:picMkLst>
        </pc:picChg>
        <pc:picChg chg="mod">
          <ac:chgData name="Hillard, Laura" userId="fb6b425a-e8d9-473f-bcd9-e45358f5bb1d" providerId="ADAL" clId="{94715EC2-FCA7-4490-89BE-4C1408F0C01A}" dt="2024-01-02T21:35:56.105" v="363" actId="1076"/>
          <ac:picMkLst>
            <pc:docMk/>
            <pc:sldMk cId="3161780041" sldId="2147472390"/>
            <ac:picMk id="13" creationId="{B2BF1FC7-E573-4FCD-70C2-2E3E2F0245B1}"/>
          </ac:picMkLst>
        </pc:picChg>
      </pc:sldChg>
      <pc:sldChg chg="addSp delSp modSp mod addCm modCm">
        <pc:chgData name="Hillard, Laura" userId="fb6b425a-e8d9-473f-bcd9-e45358f5bb1d" providerId="ADAL" clId="{94715EC2-FCA7-4490-89BE-4C1408F0C01A}" dt="2024-01-02T21:39:59.325" v="398"/>
        <pc:sldMkLst>
          <pc:docMk/>
          <pc:sldMk cId="3490125676" sldId="2147472391"/>
        </pc:sldMkLst>
        <pc:spChg chg="mod">
          <ac:chgData name="Hillard, Laura" userId="fb6b425a-e8d9-473f-bcd9-e45358f5bb1d" providerId="ADAL" clId="{94715EC2-FCA7-4490-89BE-4C1408F0C01A}" dt="2024-01-02T21:35:25.696" v="354" actId="20577"/>
          <ac:spMkLst>
            <pc:docMk/>
            <pc:sldMk cId="3490125676" sldId="2147472391"/>
            <ac:spMk id="8" creationId="{CFFD6CDD-B17F-5326-5ED1-CB1A9404D6C0}"/>
          </ac:spMkLst>
        </pc:spChg>
        <pc:picChg chg="add del mod">
          <ac:chgData name="Hillard, Laura" userId="fb6b425a-e8d9-473f-bcd9-e45358f5bb1d" providerId="ADAL" clId="{94715EC2-FCA7-4490-89BE-4C1408F0C01A}" dt="2024-01-02T21:36:13.772" v="366" actId="478"/>
          <ac:picMkLst>
            <pc:docMk/>
            <pc:sldMk cId="3490125676" sldId="2147472391"/>
            <ac:picMk id="6" creationId="{84884879-E56C-5449-06DC-399EF9EE9681}"/>
          </ac:picMkLst>
        </pc:picChg>
        <pc:picChg chg="mod ord">
          <ac:chgData name="Hillard, Laura" userId="fb6b425a-e8d9-473f-bcd9-e45358f5bb1d" providerId="ADAL" clId="{94715EC2-FCA7-4490-89BE-4C1408F0C01A}" dt="2024-01-02T21:36:28.740" v="372" actId="1076"/>
          <ac:picMkLst>
            <pc:docMk/>
            <pc:sldMk cId="3490125676" sldId="2147472391"/>
            <ac:picMk id="9" creationId="{821F43D6-D4C3-707F-4818-A75873DB3F84}"/>
          </ac:picMkLst>
        </pc:picChg>
        <pc:picChg chg="mod">
          <ac:chgData name="Hillard, Laura" userId="fb6b425a-e8d9-473f-bcd9-e45358f5bb1d" providerId="ADAL" clId="{94715EC2-FCA7-4490-89BE-4C1408F0C01A}" dt="2024-01-02T21:36:29.751" v="373" actId="1076"/>
          <ac:picMkLst>
            <pc:docMk/>
            <pc:sldMk cId="3490125676" sldId="2147472391"/>
            <ac:picMk id="13" creationId="{B2BF1FC7-E573-4FCD-70C2-2E3E2F0245B1}"/>
          </ac:picMkLst>
        </pc:picChg>
      </pc:sldChg>
      <pc:sldChg chg="modSp mod addCm">
        <pc:chgData name="Hillard, Laura" userId="fb6b425a-e8d9-473f-bcd9-e45358f5bb1d" providerId="ADAL" clId="{94715EC2-FCA7-4490-89BE-4C1408F0C01A}" dt="2024-01-02T21:37:09.230" v="376"/>
        <pc:sldMkLst>
          <pc:docMk/>
          <pc:sldMk cId="1159091119" sldId="2147472392"/>
        </pc:sldMkLst>
        <pc:spChg chg="mod">
          <ac:chgData name="Hillard, Laura" userId="fb6b425a-e8d9-473f-bcd9-e45358f5bb1d" providerId="ADAL" clId="{94715EC2-FCA7-4490-89BE-4C1408F0C01A}" dt="2024-01-02T21:37:01.887" v="375" actId="20577"/>
          <ac:spMkLst>
            <pc:docMk/>
            <pc:sldMk cId="1159091119" sldId="2147472392"/>
            <ac:spMk id="24" creationId="{964923DB-2256-419B-A063-3239D1FC888E}"/>
          </ac:spMkLst>
        </pc:spChg>
      </pc:sldChg>
      <pc:sldChg chg="modSp mod addCm">
        <pc:chgData name="Hillard, Laura" userId="fb6b425a-e8d9-473f-bcd9-e45358f5bb1d" providerId="ADAL" clId="{94715EC2-FCA7-4490-89BE-4C1408F0C01A}" dt="2024-01-02T21:37:59.254" v="395" actId="313"/>
        <pc:sldMkLst>
          <pc:docMk/>
          <pc:sldMk cId="1132225721" sldId="2147472393"/>
        </pc:sldMkLst>
        <pc:spChg chg="mod">
          <ac:chgData name="Hillard, Laura" userId="fb6b425a-e8d9-473f-bcd9-e45358f5bb1d" providerId="ADAL" clId="{94715EC2-FCA7-4490-89BE-4C1408F0C01A}" dt="2024-01-02T21:37:59.254" v="395" actId="313"/>
          <ac:spMkLst>
            <pc:docMk/>
            <pc:sldMk cId="1132225721" sldId="2147472393"/>
            <ac:spMk id="3" creationId="{802F4057-D21A-82FD-C579-A946465549FD}"/>
          </ac:spMkLst>
        </pc:spChg>
        <pc:spChg chg="mod">
          <ac:chgData name="Hillard, Laura" userId="fb6b425a-e8d9-473f-bcd9-e45358f5bb1d" providerId="ADAL" clId="{94715EC2-FCA7-4490-89BE-4C1408F0C01A}" dt="2024-01-02T21:37:18.785" v="378" actId="20577"/>
          <ac:spMkLst>
            <pc:docMk/>
            <pc:sldMk cId="1132225721" sldId="2147472393"/>
            <ac:spMk id="24" creationId="{964923DB-2256-419B-A063-3239D1FC888E}"/>
          </ac:spMkLst>
        </pc:spChg>
      </pc:sldChg>
    </pc:docChg>
  </pc:docChgLst>
  <pc:docChgLst>
    <pc:chgData name="Hillard, Laura" userId="fb6b425a-e8d9-473f-bcd9-e45358f5bb1d" providerId="ADAL" clId="{E691BDDC-BBE8-4B67-9D42-52D8F0031316}"/>
    <pc:docChg chg="modSld">
      <pc:chgData name="Hillard, Laura" userId="fb6b425a-e8d9-473f-bcd9-e45358f5bb1d" providerId="ADAL" clId="{E691BDDC-BBE8-4B67-9D42-52D8F0031316}" dt="2024-01-04T19:30:42.125" v="34"/>
      <pc:docMkLst>
        <pc:docMk/>
      </pc:docMkLst>
      <pc:sldChg chg="modSp mod modCm">
        <pc:chgData name="Hillard, Laura" userId="fb6b425a-e8d9-473f-bcd9-e45358f5bb1d" providerId="ADAL" clId="{E691BDDC-BBE8-4B67-9D42-52D8F0031316}" dt="2024-01-04T19:30:42.125" v="34"/>
        <pc:sldMkLst>
          <pc:docMk/>
          <pc:sldMk cId="429889340" sldId="2147472427"/>
        </pc:sldMkLst>
        <pc:spChg chg="mod">
          <ac:chgData name="Hillard, Laura" userId="fb6b425a-e8d9-473f-bcd9-e45358f5bb1d" providerId="ADAL" clId="{E691BDDC-BBE8-4B67-9D42-52D8F0031316}" dt="2024-01-04T19:30:03.909" v="10" actId="20577"/>
          <ac:spMkLst>
            <pc:docMk/>
            <pc:sldMk cId="429889340" sldId="2147472427"/>
            <ac:spMk id="10" creationId="{4E1D30F1-2CF8-56E6-473D-CEACD5D5DC75}"/>
          </ac:spMkLst>
        </pc:spChg>
        <pc:spChg chg="mod">
          <ac:chgData name="Hillard, Laura" userId="fb6b425a-e8d9-473f-bcd9-e45358f5bb1d" providerId="ADAL" clId="{E691BDDC-BBE8-4B67-9D42-52D8F0031316}" dt="2024-01-04T19:30:25.107" v="33" actId="20577"/>
          <ac:spMkLst>
            <pc:docMk/>
            <pc:sldMk cId="429889340" sldId="2147472427"/>
            <ac:spMk id="13" creationId="{C95E361D-6A5A-A1FA-858C-8EAB85C062D4}"/>
          </ac:spMkLst>
        </pc:spChg>
      </pc:sldChg>
    </pc:docChg>
  </pc:docChgLst>
  <pc:docChgLst>
    <pc:chgData name="Hillard, Laura" userId="fb6b425a-e8d9-473f-bcd9-e45358f5bb1d" providerId="ADAL" clId="{B7BD03E0-211E-486F-BDBA-F14A87F382E5}"/>
    <pc:docChg chg="undo redo custSel addSld delSld modSld sldOrd modSection">
      <pc:chgData name="Hillard, Laura" userId="fb6b425a-e8d9-473f-bcd9-e45358f5bb1d" providerId="ADAL" clId="{B7BD03E0-211E-486F-BDBA-F14A87F382E5}" dt="2023-08-24T02:12:12.176" v="629" actId="14100"/>
      <pc:docMkLst>
        <pc:docMk/>
      </pc:docMkLst>
      <pc:sldChg chg="add del">
        <pc:chgData name="Hillard, Laura" userId="fb6b425a-e8d9-473f-bcd9-e45358f5bb1d" providerId="ADAL" clId="{B7BD03E0-211E-486F-BDBA-F14A87F382E5}" dt="2023-08-23T15:28:13.019" v="39"/>
        <pc:sldMkLst>
          <pc:docMk/>
          <pc:sldMk cId="3343008579" sldId="296"/>
        </pc:sldMkLst>
      </pc:sldChg>
      <pc:sldChg chg="add del">
        <pc:chgData name="Hillard, Laura" userId="fb6b425a-e8d9-473f-bcd9-e45358f5bb1d" providerId="ADAL" clId="{B7BD03E0-211E-486F-BDBA-F14A87F382E5}" dt="2023-08-23T15:28:13.019" v="39"/>
        <pc:sldMkLst>
          <pc:docMk/>
          <pc:sldMk cId="514157237" sldId="444"/>
        </pc:sldMkLst>
      </pc:sldChg>
      <pc:sldChg chg="add del">
        <pc:chgData name="Hillard, Laura" userId="fb6b425a-e8d9-473f-bcd9-e45358f5bb1d" providerId="ADAL" clId="{B7BD03E0-211E-486F-BDBA-F14A87F382E5}" dt="2023-08-23T15:28:13.019" v="39"/>
        <pc:sldMkLst>
          <pc:docMk/>
          <pc:sldMk cId="1758998386" sldId="445"/>
        </pc:sldMkLst>
      </pc:sldChg>
      <pc:sldChg chg="modSp add del mod">
        <pc:chgData name="Hillard, Laura" userId="fb6b425a-e8d9-473f-bcd9-e45358f5bb1d" providerId="ADAL" clId="{B7BD03E0-211E-486F-BDBA-F14A87F382E5}" dt="2023-08-23T15:28:13.019" v="39"/>
        <pc:sldMkLst>
          <pc:docMk/>
          <pc:sldMk cId="2698675550" sldId="3567"/>
        </pc:sldMkLst>
        <pc:spChg chg="mod">
          <ac:chgData name="Hillard, Laura" userId="fb6b425a-e8d9-473f-bcd9-e45358f5bb1d" providerId="ADAL" clId="{B7BD03E0-211E-486F-BDBA-F14A87F382E5}" dt="2023-08-23T15:28:12.973" v="38"/>
          <ac:spMkLst>
            <pc:docMk/>
            <pc:sldMk cId="2698675550" sldId="3567"/>
            <ac:spMk id="3" creationId="{D3871040-CBE1-24D5-DD79-3DAD6B8EF31A}"/>
          </ac:spMkLst>
        </pc:spChg>
      </pc:sldChg>
      <pc:sldChg chg="modSp add del mod">
        <pc:chgData name="Hillard, Laura" userId="fb6b425a-e8d9-473f-bcd9-e45358f5bb1d" providerId="ADAL" clId="{B7BD03E0-211E-486F-BDBA-F14A87F382E5}" dt="2023-08-23T15:28:13.019" v="39"/>
        <pc:sldMkLst>
          <pc:docMk/>
          <pc:sldMk cId="232003018" sldId="3568"/>
        </pc:sldMkLst>
        <pc:spChg chg="mod">
          <ac:chgData name="Hillard, Laura" userId="fb6b425a-e8d9-473f-bcd9-e45358f5bb1d" providerId="ADAL" clId="{B7BD03E0-211E-486F-BDBA-F14A87F382E5}" dt="2023-08-23T15:28:12.973" v="38"/>
          <ac:spMkLst>
            <pc:docMk/>
            <pc:sldMk cId="232003018" sldId="3568"/>
            <ac:spMk id="3" creationId="{76700BAC-CECE-7D90-FC27-64BEABB1C365}"/>
          </ac:spMkLst>
        </pc:spChg>
      </pc:sldChg>
      <pc:sldChg chg="modSp add del mod">
        <pc:chgData name="Hillard, Laura" userId="fb6b425a-e8d9-473f-bcd9-e45358f5bb1d" providerId="ADAL" clId="{B7BD03E0-211E-486F-BDBA-F14A87F382E5}" dt="2023-08-23T15:28:13.019" v="39"/>
        <pc:sldMkLst>
          <pc:docMk/>
          <pc:sldMk cId="253546219" sldId="3569"/>
        </pc:sldMkLst>
        <pc:spChg chg="mod">
          <ac:chgData name="Hillard, Laura" userId="fb6b425a-e8d9-473f-bcd9-e45358f5bb1d" providerId="ADAL" clId="{B7BD03E0-211E-486F-BDBA-F14A87F382E5}" dt="2023-08-23T15:28:12.973" v="38"/>
          <ac:spMkLst>
            <pc:docMk/>
            <pc:sldMk cId="253546219" sldId="3569"/>
            <ac:spMk id="2" creationId="{C62196A4-5A10-4411-EA97-58C269717689}"/>
          </ac:spMkLst>
        </pc:spChg>
      </pc:sldChg>
      <pc:sldChg chg="delSp add del mod">
        <pc:chgData name="Hillard, Laura" userId="fb6b425a-e8d9-473f-bcd9-e45358f5bb1d" providerId="ADAL" clId="{B7BD03E0-211E-486F-BDBA-F14A87F382E5}" dt="2023-08-23T15:28:31.239" v="40" actId="478"/>
        <pc:sldMkLst>
          <pc:docMk/>
          <pc:sldMk cId="3808998771" sldId="3570"/>
        </pc:sldMkLst>
        <pc:spChg chg="del">
          <ac:chgData name="Hillard, Laura" userId="fb6b425a-e8d9-473f-bcd9-e45358f5bb1d" providerId="ADAL" clId="{B7BD03E0-211E-486F-BDBA-F14A87F382E5}" dt="2023-08-23T15:28:31.239" v="40" actId="478"/>
          <ac:spMkLst>
            <pc:docMk/>
            <pc:sldMk cId="3808998771" sldId="3570"/>
            <ac:spMk id="2" creationId="{A5420676-9789-6ECF-E973-3FC19BBD6CD6}"/>
          </ac:spMkLst>
        </pc:spChg>
      </pc:sldChg>
      <pc:sldChg chg="modSp mod">
        <pc:chgData name="Hillard, Laura" userId="fb6b425a-e8d9-473f-bcd9-e45358f5bb1d" providerId="ADAL" clId="{B7BD03E0-211E-486F-BDBA-F14A87F382E5}" dt="2023-08-23T17:22:42.336" v="325" actId="207"/>
        <pc:sldMkLst>
          <pc:docMk/>
          <pc:sldMk cId="938788667" sldId="2147309703"/>
        </pc:sldMkLst>
        <pc:spChg chg="mod">
          <ac:chgData name="Hillard, Laura" userId="fb6b425a-e8d9-473f-bcd9-e45358f5bb1d" providerId="ADAL" clId="{B7BD03E0-211E-486F-BDBA-F14A87F382E5}" dt="2023-08-23T17:22:42.336" v="325" actId="207"/>
          <ac:spMkLst>
            <pc:docMk/>
            <pc:sldMk cId="938788667" sldId="2147309703"/>
            <ac:spMk id="106" creationId="{8A1A3CF3-E15C-436E-AF98-247456B2606A}"/>
          </ac:spMkLst>
        </pc:spChg>
        <pc:spChg chg="mod">
          <ac:chgData name="Hillard, Laura" userId="fb6b425a-e8d9-473f-bcd9-e45358f5bb1d" providerId="ADAL" clId="{B7BD03E0-211E-486F-BDBA-F14A87F382E5}" dt="2023-08-23T17:22:42.336" v="325" actId="207"/>
          <ac:spMkLst>
            <pc:docMk/>
            <pc:sldMk cId="938788667" sldId="2147309703"/>
            <ac:spMk id="107" creationId="{37CB974B-B4F9-4C27-A971-BC38DBA11CD2}"/>
          </ac:spMkLst>
        </pc:spChg>
        <pc:spChg chg="mod">
          <ac:chgData name="Hillard, Laura" userId="fb6b425a-e8d9-473f-bcd9-e45358f5bb1d" providerId="ADAL" clId="{B7BD03E0-211E-486F-BDBA-F14A87F382E5}" dt="2023-08-23T17:22:24.087" v="322" actId="207"/>
          <ac:spMkLst>
            <pc:docMk/>
            <pc:sldMk cId="938788667" sldId="2147309703"/>
            <ac:spMk id="127" creationId="{E565458E-DF9D-4FAC-816D-940ED3C37FDF}"/>
          </ac:spMkLst>
        </pc:spChg>
        <pc:spChg chg="mod">
          <ac:chgData name="Hillard, Laura" userId="fb6b425a-e8d9-473f-bcd9-e45358f5bb1d" providerId="ADAL" clId="{B7BD03E0-211E-486F-BDBA-F14A87F382E5}" dt="2023-08-23T17:22:24.087" v="322" actId="207"/>
          <ac:spMkLst>
            <pc:docMk/>
            <pc:sldMk cId="938788667" sldId="2147309703"/>
            <ac:spMk id="128" creationId="{A8264E31-E963-4B9A-BC8D-2B2D008EC8C3}"/>
          </ac:spMkLst>
        </pc:spChg>
        <pc:spChg chg="mod">
          <ac:chgData name="Hillard, Laura" userId="fb6b425a-e8d9-473f-bcd9-e45358f5bb1d" providerId="ADAL" clId="{B7BD03E0-211E-486F-BDBA-F14A87F382E5}" dt="2023-08-23T17:22:24.087" v="322" actId="207"/>
          <ac:spMkLst>
            <pc:docMk/>
            <pc:sldMk cId="938788667" sldId="2147309703"/>
            <ac:spMk id="129" creationId="{184B7218-0084-414E-80F5-35412D36384E}"/>
          </ac:spMkLst>
        </pc:spChg>
        <pc:spChg chg="mod">
          <ac:chgData name="Hillard, Laura" userId="fb6b425a-e8d9-473f-bcd9-e45358f5bb1d" providerId="ADAL" clId="{B7BD03E0-211E-486F-BDBA-F14A87F382E5}" dt="2023-08-23T17:22:24.087" v="322" actId="207"/>
          <ac:spMkLst>
            <pc:docMk/>
            <pc:sldMk cId="938788667" sldId="2147309703"/>
            <ac:spMk id="130" creationId="{C710EB81-3FD4-457A-B681-72C4348C92EA}"/>
          </ac:spMkLst>
        </pc:spChg>
        <pc:grpChg chg="mod">
          <ac:chgData name="Hillard, Laura" userId="fb6b425a-e8d9-473f-bcd9-e45358f5bb1d" providerId="ADAL" clId="{B7BD03E0-211E-486F-BDBA-F14A87F382E5}" dt="2023-08-23T17:22:42.336" v="325" actId="207"/>
          <ac:grpSpMkLst>
            <pc:docMk/>
            <pc:sldMk cId="938788667" sldId="2147309703"/>
            <ac:grpSpMk id="105" creationId="{CF285485-92CD-4812-A183-1A3906BE646B}"/>
          </ac:grpSpMkLst>
        </pc:grpChg>
        <pc:grpChg chg="mod">
          <ac:chgData name="Hillard, Laura" userId="fb6b425a-e8d9-473f-bcd9-e45358f5bb1d" providerId="ADAL" clId="{B7BD03E0-211E-486F-BDBA-F14A87F382E5}" dt="2023-08-23T17:22:24.087" v="322" actId="207"/>
          <ac:grpSpMkLst>
            <pc:docMk/>
            <pc:sldMk cId="938788667" sldId="2147309703"/>
            <ac:grpSpMk id="123" creationId="{A994C299-F5B8-4CC0-B90D-D61EE8A1BCBD}"/>
          </ac:grpSpMkLst>
        </pc:grpChg>
        <pc:grpChg chg="mod">
          <ac:chgData name="Hillard, Laura" userId="fb6b425a-e8d9-473f-bcd9-e45358f5bb1d" providerId="ADAL" clId="{B7BD03E0-211E-486F-BDBA-F14A87F382E5}" dt="2023-08-23T17:22:24.087" v="322" actId="207"/>
          <ac:grpSpMkLst>
            <pc:docMk/>
            <pc:sldMk cId="938788667" sldId="2147309703"/>
            <ac:grpSpMk id="124" creationId="{4C923BF9-0598-46BF-86CE-27B6332840FD}"/>
          </ac:grpSpMkLst>
        </pc:grpChg>
        <pc:grpChg chg="mod">
          <ac:chgData name="Hillard, Laura" userId="fb6b425a-e8d9-473f-bcd9-e45358f5bb1d" providerId="ADAL" clId="{B7BD03E0-211E-486F-BDBA-F14A87F382E5}" dt="2023-08-23T17:22:24.087" v="322" actId="207"/>
          <ac:grpSpMkLst>
            <pc:docMk/>
            <pc:sldMk cId="938788667" sldId="2147309703"/>
            <ac:grpSpMk id="126" creationId="{D7E21A82-9F27-4823-AE03-EA8B6E665CD3}"/>
          </ac:grpSpMkLst>
        </pc:grpChg>
        <pc:cxnChg chg="mod">
          <ac:chgData name="Hillard, Laura" userId="fb6b425a-e8d9-473f-bcd9-e45358f5bb1d" providerId="ADAL" clId="{B7BD03E0-211E-486F-BDBA-F14A87F382E5}" dt="2023-08-23T17:22:24.087" v="322" actId="207"/>
          <ac:cxnSpMkLst>
            <pc:docMk/>
            <pc:sldMk cId="938788667" sldId="2147309703"/>
            <ac:cxnSpMk id="125" creationId="{60822F37-2269-49E9-92C7-D75C22A0265B}"/>
          </ac:cxnSpMkLst>
        </pc:cxnChg>
      </pc:sldChg>
      <pc:sldChg chg="addSp modSp del mod">
        <pc:chgData name="Hillard, Laura" userId="fb6b425a-e8d9-473f-bcd9-e45358f5bb1d" providerId="ADAL" clId="{B7BD03E0-211E-486F-BDBA-F14A87F382E5}" dt="2023-08-23T17:21:47.258" v="319" actId="47"/>
        <pc:sldMkLst>
          <pc:docMk/>
          <pc:sldMk cId="1192267893" sldId="2147309716"/>
        </pc:sldMkLst>
        <pc:spChg chg="add mod">
          <ac:chgData name="Hillard, Laura" userId="fb6b425a-e8d9-473f-bcd9-e45358f5bb1d" providerId="ADAL" clId="{B7BD03E0-211E-486F-BDBA-F14A87F382E5}" dt="2023-08-23T16:13:13.313" v="165" actId="207"/>
          <ac:spMkLst>
            <pc:docMk/>
            <pc:sldMk cId="1192267893" sldId="2147309716"/>
            <ac:spMk id="2" creationId="{F1389AC6-C157-77EC-9587-0D1933E17DBE}"/>
          </ac:spMkLst>
        </pc:spChg>
        <pc:spChg chg="add mod">
          <ac:chgData name="Hillard, Laura" userId="fb6b425a-e8d9-473f-bcd9-e45358f5bb1d" providerId="ADAL" clId="{B7BD03E0-211E-486F-BDBA-F14A87F382E5}" dt="2023-08-23T16:13:38.639" v="179" actId="1036"/>
          <ac:spMkLst>
            <pc:docMk/>
            <pc:sldMk cId="1192267893" sldId="2147309716"/>
            <ac:spMk id="3" creationId="{B286CA20-7A70-DC7F-C82A-4ABB4297F239}"/>
          </ac:spMkLst>
        </pc:spChg>
        <pc:spChg chg="add mod ord">
          <ac:chgData name="Hillard, Laura" userId="fb6b425a-e8d9-473f-bcd9-e45358f5bb1d" providerId="ADAL" clId="{B7BD03E0-211E-486F-BDBA-F14A87F382E5}" dt="2023-08-23T16:13:05.692" v="164" actId="207"/>
          <ac:spMkLst>
            <pc:docMk/>
            <pc:sldMk cId="1192267893" sldId="2147309716"/>
            <ac:spMk id="5" creationId="{654EFB3C-689B-1F67-43E5-84164741E8C0}"/>
          </ac:spMkLst>
        </pc:spChg>
        <pc:grpChg chg="add mod">
          <ac:chgData name="Hillard, Laura" userId="fb6b425a-e8d9-473f-bcd9-e45358f5bb1d" providerId="ADAL" clId="{B7BD03E0-211E-486F-BDBA-F14A87F382E5}" dt="2023-08-23T16:13:28.554" v="167" actId="164"/>
          <ac:grpSpMkLst>
            <pc:docMk/>
            <pc:sldMk cId="1192267893" sldId="2147309716"/>
            <ac:grpSpMk id="6" creationId="{4E36DF46-FDAC-3A80-D490-2DE37AADAD39}"/>
          </ac:grpSpMkLst>
        </pc:grpChg>
        <pc:grpChg chg="add mod">
          <ac:chgData name="Hillard, Laura" userId="fb6b425a-e8d9-473f-bcd9-e45358f5bb1d" providerId="ADAL" clId="{B7BD03E0-211E-486F-BDBA-F14A87F382E5}" dt="2023-08-23T16:13:30.846" v="168" actId="12788"/>
          <ac:grpSpMkLst>
            <pc:docMk/>
            <pc:sldMk cId="1192267893" sldId="2147309716"/>
            <ac:grpSpMk id="7" creationId="{664844E2-7BF8-708D-265C-1DFDC1D52356}"/>
          </ac:grpSpMkLst>
        </pc:grpChg>
        <pc:picChg chg="mod">
          <ac:chgData name="Hillard, Laura" userId="fb6b425a-e8d9-473f-bcd9-e45358f5bb1d" providerId="ADAL" clId="{B7BD03E0-211E-486F-BDBA-F14A87F382E5}" dt="2023-08-23T16:13:28.554" v="167" actId="164"/>
          <ac:picMkLst>
            <pc:docMk/>
            <pc:sldMk cId="1192267893" sldId="2147309716"/>
            <ac:picMk id="12" creationId="{D17D9078-5130-6B61-669A-3D32C33AE14A}"/>
          </ac:picMkLst>
        </pc:picChg>
      </pc:sldChg>
      <pc:sldChg chg="del">
        <pc:chgData name="Hillard, Laura" userId="fb6b425a-e8d9-473f-bcd9-e45358f5bb1d" providerId="ADAL" clId="{B7BD03E0-211E-486F-BDBA-F14A87F382E5}" dt="2023-08-24T02:08:58.482" v="623" actId="47"/>
        <pc:sldMkLst>
          <pc:docMk/>
          <pc:sldMk cId="2896434862" sldId="2147309719"/>
        </pc:sldMkLst>
      </pc:sldChg>
      <pc:sldChg chg="modSp mod">
        <pc:chgData name="Hillard, Laura" userId="fb6b425a-e8d9-473f-bcd9-e45358f5bb1d" providerId="ADAL" clId="{B7BD03E0-211E-486F-BDBA-F14A87F382E5}" dt="2023-08-23T16:55:33.494" v="236" actId="20577"/>
        <pc:sldMkLst>
          <pc:docMk/>
          <pc:sldMk cId="1044946537" sldId="2147472287"/>
        </pc:sldMkLst>
        <pc:spChg chg="mod">
          <ac:chgData name="Hillard, Laura" userId="fb6b425a-e8d9-473f-bcd9-e45358f5bb1d" providerId="ADAL" clId="{B7BD03E0-211E-486F-BDBA-F14A87F382E5}" dt="2023-08-23T16:55:33.494" v="236" actId="20577"/>
          <ac:spMkLst>
            <pc:docMk/>
            <pc:sldMk cId="1044946537" sldId="2147472287"/>
            <ac:spMk id="3" creationId="{E0EFA907-036A-8DA6-942A-08707E1C2E8E}"/>
          </ac:spMkLst>
        </pc:spChg>
      </pc:sldChg>
      <pc:sldChg chg="modSp mod">
        <pc:chgData name="Hillard, Laura" userId="fb6b425a-e8d9-473f-bcd9-e45358f5bb1d" providerId="ADAL" clId="{B7BD03E0-211E-486F-BDBA-F14A87F382E5}" dt="2023-08-23T16:59:25.409" v="318" actId="20577"/>
        <pc:sldMkLst>
          <pc:docMk/>
          <pc:sldMk cId="4086239096" sldId="2147472309"/>
        </pc:sldMkLst>
        <pc:spChg chg="mod">
          <ac:chgData name="Hillard, Laura" userId="fb6b425a-e8d9-473f-bcd9-e45358f5bb1d" providerId="ADAL" clId="{B7BD03E0-211E-486F-BDBA-F14A87F382E5}" dt="2023-08-23T16:59:25.409" v="318" actId="20577"/>
          <ac:spMkLst>
            <pc:docMk/>
            <pc:sldMk cId="4086239096" sldId="2147472309"/>
            <ac:spMk id="25" creationId="{4A02B834-331E-5EF2-4CC5-6E0D90620543}"/>
          </ac:spMkLst>
        </pc:spChg>
      </pc:sldChg>
      <pc:sldChg chg="modSp mod">
        <pc:chgData name="Hillard, Laura" userId="fb6b425a-e8d9-473f-bcd9-e45358f5bb1d" providerId="ADAL" clId="{B7BD03E0-211E-486F-BDBA-F14A87F382E5}" dt="2023-08-23T18:39:18.333" v="510" actId="20577"/>
        <pc:sldMkLst>
          <pc:docMk/>
          <pc:sldMk cId="113113539" sldId="2147472313"/>
        </pc:sldMkLst>
        <pc:spChg chg="mod">
          <ac:chgData name="Hillard, Laura" userId="fb6b425a-e8d9-473f-bcd9-e45358f5bb1d" providerId="ADAL" clId="{B7BD03E0-211E-486F-BDBA-F14A87F382E5}" dt="2023-08-23T18:39:18.333" v="510" actId="20577"/>
          <ac:spMkLst>
            <pc:docMk/>
            <pc:sldMk cId="113113539" sldId="2147472313"/>
            <ac:spMk id="5" creationId="{C8F85860-25AA-40B8-B0E3-B7AAC96BB49F}"/>
          </ac:spMkLst>
        </pc:spChg>
      </pc:sldChg>
      <pc:sldChg chg="modSp mod">
        <pc:chgData name="Hillard, Laura" userId="fb6b425a-e8d9-473f-bcd9-e45358f5bb1d" providerId="ADAL" clId="{B7BD03E0-211E-486F-BDBA-F14A87F382E5}" dt="2023-08-23T18:30:52.208" v="472" actId="20577"/>
        <pc:sldMkLst>
          <pc:docMk/>
          <pc:sldMk cId="402946131" sldId="2147472314"/>
        </pc:sldMkLst>
        <pc:spChg chg="mod">
          <ac:chgData name="Hillard, Laura" userId="fb6b425a-e8d9-473f-bcd9-e45358f5bb1d" providerId="ADAL" clId="{B7BD03E0-211E-486F-BDBA-F14A87F382E5}" dt="2023-08-23T18:30:52.208" v="472" actId="20577"/>
          <ac:spMkLst>
            <pc:docMk/>
            <pc:sldMk cId="402946131" sldId="2147472314"/>
            <ac:spMk id="3" creationId="{802F4057-D21A-82FD-C579-A946465549FD}"/>
          </ac:spMkLst>
        </pc:spChg>
      </pc:sldChg>
      <pc:sldChg chg="addSp delSp add del setBg delDesignElem">
        <pc:chgData name="Hillard, Laura" userId="fb6b425a-e8d9-473f-bcd9-e45358f5bb1d" providerId="ADAL" clId="{B7BD03E0-211E-486F-BDBA-F14A87F382E5}" dt="2023-08-23T19:46:45.106" v="621"/>
        <pc:sldMkLst>
          <pc:docMk/>
          <pc:sldMk cId="1768798561" sldId="2147472319"/>
        </pc:sldMkLst>
        <pc:spChg chg="add del">
          <ac:chgData name="Hillard, Laura" userId="fb6b425a-e8d9-473f-bcd9-e45358f5bb1d" providerId="ADAL" clId="{B7BD03E0-211E-486F-BDBA-F14A87F382E5}" dt="2023-08-23T19:46:45.106" v="621"/>
          <ac:spMkLst>
            <pc:docMk/>
            <pc:sldMk cId="1768798561" sldId="2147472319"/>
            <ac:spMk id="43" creationId="{D1D34770-47A8-402C-AF23-2B653F2D88C1}"/>
          </ac:spMkLst>
        </pc:spChg>
      </pc:sldChg>
      <pc:sldChg chg="del">
        <pc:chgData name="Hillard, Laura" userId="fb6b425a-e8d9-473f-bcd9-e45358f5bb1d" providerId="ADAL" clId="{B7BD03E0-211E-486F-BDBA-F14A87F382E5}" dt="2023-08-23T19:46:37.228" v="618" actId="2696"/>
        <pc:sldMkLst>
          <pc:docMk/>
          <pc:sldMk cId="3359826993" sldId="2147472319"/>
        </pc:sldMkLst>
      </pc:sldChg>
      <pc:sldChg chg="add">
        <pc:chgData name="Hillard, Laura" userId="fb6b425a-e8d9-473f-bcd9-e45358f5bb1d" providerId="ADAL" clId="{B7BD03E0-211E-486F-BDBA-F14A87F382E5}" dt="2023-08-23T19:46:45.143" v="622"/>
        <pc:sldMkLst>
          <pc:docMk/>
          <pc:sldMk cId="4039916713" sldId="2147472319"/>
        </pc:sldMkLst>
      </pc:sldChg>
      <pc:sldChg chg="modSp mod">
        <pc:chgData name="Hillard, Laura" userId="fb6b425a-e8d9-473f-bcd9-e45358f5bb1d" providerId="ADAL" clId="{B7BD03E0-211E-486F-BDBA-F14A87F382E5}" dt="2023-08-23T14:56:51.309" v="2" actId="20577"/>
        <pc:sldMkLst>
          <pc:docMk/>
          <pc:sldMk cId="737233286" sldId="2147472320"/>
        </pc:sldMkLst>
        <pc:spChg chg="mod">
          <ac:chgData name="Hillard, Laura" userId="fb6b425a-e8d9-473f-bcd9-e45358f5bb1d" providerId="ADAL" clId="{B7BD03E0-211E-486F-BDBA-F14A87F382E5}" dt="2023-08-23T14:56:51.309" v="2" actId="20577"/>
          <ac:spMkLst>
            <pc:docMk/>
            <pc:sldMk cId="737233286" sldId="2147472320"/>
            <ac:spMk id="6" creationId="{5332C7B3-0DFD-290B-BF86-0152E1192579}"/>
          </ac:spMkLst>
        </pc:spChg>
      </pc:sldChg>
      <pc:sldChg chg="modSp mod ord">
        <pc:chgData name="Hillard, Laura" userId="fb6b425a-e8d9-473f-bcd9-e45358f5bb1d" providerId="ADAL" clId="{B7BD03E0-211E-486F-BDBA-F14A87F382E5}" dt="2023-08-23T18:31:45.894" v="509" actId="20577"/>
        <pc:sldMkLst>
          <pc:docMk/>
          <pc:sldMk cId="1747163129" sldId="2147472321"/>
        </pc:sldMkLst>
        <pc:spChg chg="mod">
          <ac:chgData name="Hillard, Laura" userId="fb6b425a-e8d9-473f-bcd9-e45358f5bb1d" providerId="ADAL" clId="{B7BD03E0-211E-486F-BDBA-F14A87F382E5}" dt="2023-08-23T18:31:45.894" v="509" actId="20577"/>
          <ac:spMkLst>
            <pc:docMk/>
            <pc:sldMk cId="1747163129" sldId="2147472321"/>
            <ac:spMk id="24" creationId="{964923DB-2256-419B-A063-3239D1FC888E}"/>
          </ac:spMkLst>
        </pc:spChg>
      </pc:sldChg>
      <pc:sldChg chg="addSp delSp modSp mod">
        <pc:chgData name="Hillard, Laura" userId="fb6b425a-e8d9-473f-bcd9-e45358f5bb1d" providerId="ADAL" clId="{B7BD03E0-211E-486F-BDBA-F14A87F382E5}" dt="2023-08-24T02:12:12.176" v="629" actId="14100"/>
        <pc:sldMkLst>
          <pc:docMk/>
          <pc:sldMk cId="1596833832" sldId="2147472323"/>
        </pc:sldMkLst>
        <pc:picChg chg="del">
          <ac:chgData name="Hillard, Laura" userId="fb6b425a-e8d9-473f-bcd9-e45358f5bb1d" providerId="ADAL" clId="{B7BD03E0-211E-486F-BDBA-F14A87F382E5}" dt="2023-08-24T02:11:57.365" v="624" actId="478"/>
          <ac:picMkLst>
            <pc:docMk/>
            <pc:sldMk cId="1596833832" sldId="2147472323"/>
            <ac:picMk id="12" creationId="{265C22A1-2AE1-79EA-DA99-777499D9BF19}"/>
          </ac:picMkLst>
        </pc:picChg>
        <pc:picChg chg="add mod">
          <ac:chgData name="Hillard, Laura" userId="fb6b425a-e8d9-473f-bcd9-e45358f5bb1d" providerId="ADAL" clId="{B7BD03E0-211E-486F-BDBA-F14A87F382E5}" dt="2023-08-24T02:12:12.176" v="629" actId="14100"/>
          <ac:picMkLst>
            <pc:docMk/>
            <pc:sldMk cId="1596833832" sldId="2147472323"/>
            <ac:picMk id="1026" creationId="{FA1A847B-B318-7D23-DDED-6B25A06F6849}"/>
          </ac:picMkLst>
        </pc:picChg>
      </pc:sldChg>
      <pc:sldChg chg="addSp delSp modSp del mod">
        <pc:chgData name="Hillard, Laura" userId="fb6b425a-e8d9-473f-bcd9-e45358f5bb1d" providerId="ADAL" clId="{B7BD03E0-211E-486F-BDBA-F14A87F382E5}" dt="2023-08-23T18:30:05.532" v="403" actId="47"/>
        <pc:sldMkLst>
          <pc:docMk/>
          <pc:sldMk cId="232713170" sldId="2147472324"/>
        </pc:sldMkLst>
        <pc:picChg chg="add del mod ord replST">
          <ac:chgData name="Hillard, Laura" userId="fb6b425a-e8d9-473f-bcd9-e45358f5bb1d" providerId="ADAL" clId="{B7BD03E0-211E-486F-BDBA-F14A87F382E5}" dt="2023-08-23T15:40:17.115" v="42"/>
          <ac:picMkLst>
            <pc:docMk/>
            <pc:sldMk cId="232713170" sldId="2147472324"/>
            <ac:picMk id="4" creationId="{6D96B9B5-E90E-A6B3-D2C5-A371F0C0E857}"/>
          </ac:picMkLst>
        </pc:picChg>
        <pc:picChg chg="del">
          <ac:chgData name="Hillard, Laura" userId="fb6b425a-e8d9-473f-bcd9-e45358f5bb1d" providerId="ADAL" clId="{B7BD03E0-211E-486F-BDBA-F14A87F382E5}" dt="2023-08-23T15:02:37.365" v="27"/>
          <ac:picMkLst>
            <pc:docMk/>
            <pc:sldMk cId="232713170" sldId="2147472324"/>
            <ac:picMk id="6" creationId="{7169B3B3-5F5A-6FA5-988C-F38353DA8976}"/>
          </ac:picMkLst>
        </pc:picChg>
        <pc:picChg chg="add del mod ord replST">
          <ac:chgData name="Hillard, Laura" userId="fb6b425a-e8d9-473f-bcd9-e45358f5bb1d" providerId="ADAL" clId="{B7BD03E0-211E-486F-BDBA-F14A87F382E5}" dt="2023-08-23T16:08:25.904" v="49"/>
          <ac:picMkLst>
            <pc:docMk/>
            <pc:sldMk cId="232713170" sldId="2147472324"/>
            <ac:picMk id="7" creationId="{3EF56DE4-99BA-F40B-A4A4-3BAEC58F31FF}"/>
          </ac:picMkLst>
        </pc:picChg>
        <pc:picChg chg="add mod ord replST">
          <ac:chgData name="Hillard, Laura" userId="fb6b425a-e8d9-473f-bcd9-e45358f5bb1d" providerId="ADAL" clId="{B7BD03E0-211E-486F-BDBA-F14A87F382E5}" dt="2023-08-23T16:08:25.967" v="54"/>
          <ac:picMkLst>
            <pc:docMk/>
            <pc:sldMk cId="232713170" sldId="2147472324"/>
            <ac:picMk id="9" creationId="{1BAE0867-B409-761D-35B6-7E9F62863732}"/>
          </ac:picMkLst>
        </pc:picChg>
      </pc:sldChg>
      <pc:sldChg chg="del">
        <pc:chgData name="Hillard, Laura" userId="fb6b425a-e8d9-473f-bcd9-e45358f5bb1d" providerId="ADAL" clId="{B7BD03E0-211E-486F-BDBA-F14A87F382E5}" dt="2023-08-23T17:40:26.642" v="399" actId="47"/>
        <pc:sldMkLst>
          <pc:docMk/>
          <pc:sldMk cId="902473844" sldId="2147472325"/>
        </pc:sldMkLst>
      </pc:sldChg>
      <pc:sldChg chg="delSp mod">
        <pc:chgData name="Hillard, Laura" userId="fb6b425a-e8d9-473f-bcd9-e45358f5bb1d" providerId="ADAL" clId="{B7BD03E0-211E-486F-BDBA-F14A87F382E5}" dt="2023-08-23T17:40:32.193" v="400" actId="478"/>
        <pc:sldMkLst>
          <pc:docMk/>
          <pc:sldMk cId="2194583067" sldId="2147472326"/>
        </pc:sldMkLst>
        <pc:spChg chg="del">
          <ac:chgData name="Hillard, Laura" userId="fb6b425a-e8d9-473f-bcd9-e45358f5bb1d" providerId="ADAL" clId="{B7BD03E0-211E-486F-BDBA-F14A87F382E5}" dt="2023-08-23T17:40:32.193" v="400" actId="478"/>
          <ac:spMkLst>
            <pc:docMk/>
            <pc:sldMk cId="2194583067" sldId="2147472326"/>
            <ac:spMk id="2" creationId="{930E3FE8-4453-7356-04E0-F5F9B0CB7631}"/>
          </ac:spMkLst>
        </pc:spChg>
      </pc:sldChg>
      <pc:sldChg chg="addSp delSp modSp add mod">
        <pc:chgData name="Hillard, Laura" userId="fb6b425a-e8d9-473f-bcd9-e45358f5bb1d" providerId="ADAL" clId="{B7BD03E0-211E-486F-BDBA-F14A87F382E5}" dt="2023-08-23T17:40:03.947" v="398" actId="164"/>
        <pc:sldMkLst>
          <pc:docMk/>
          <pc:sldMk cId="3759578668" sldId="2147472327"/>
        </pc:sldMkLst>
        <pc:spChg chg="mod topLvl">
          <ac:chgData name="Hillard, Laura" userId="fb6b425a-e8d9-473f-bcd9-e45358f5bb1d" providerId="ADAL" clId="{B7BD03E0-211E-486F-BDBA-F14A87F382E5}" dt="2023-08-23T17:39:59.847" v="397" actId="164"/>
          <ac:spMkLst>
            <pc:docMk/>
            <pc:sldMk cId="3759578668" sldId="2147472327"/>
            <ac:spMk id="2" creationId="{F1389AC6-C157-77EC-9587-0D1933E17DBE}"/>
          </ac:spMkLst>
        </pc:spChg>
        <pc:spChg chg="mod topLvl">
          <ac:chgData name="Hillard, Laura" userId="fb6b425a-e8d9-473f-bcd9-e45358f5bb1d" providerId="ADAL" clId="{B7BD03E0-211E-486F-BDBA-F14A87F382E5}" dt="2023-08-23T17:40:03.947" v="398" actId="164"/>
          <ac:spMkLst>
            <pc:docMk/>
            <pc:sldMk cId="3759578668" sldId="2147472327"/>
            <ac:spMk id="3" creationId="{B286CA20-7A70-DC7F-C82A-4ABB4297F239}"/>
          </ac:spMkLst>
        </pc:spChg>
        <pc:spChg chg="del">
          <ac:chgData name="Hillard, Laura" userId="fb6b425a-e8d9-473f-bcd9-e45358f5bb1d" providerId="ADAL" clId="{B7BD03E0-211E-486F-BDBA-F14A87F382E5}" dt="2023-08-23T16:14:38.815" v="181" actId="478"/>
          <ac:spMkLst>
            <pc:docMk/>
            <pc:sldMk cId="3759578668" sldId="2147472327"/>
            <ac:spMk id="5" creationId="{654EFB3C-689B-1F67-43E5-84164741E8C0}"/>
          </ac:spMkLst>
        </pc:spChg>
        <pc:grpChg chg="del mod topLvl">
          <ac:chgData name="Hillard, Laura" userId="fb6b425a-e8d9-473f-bcd9-e45358f5bb1d" providerId="ADAL" clId="{B7BD03E0-211E-486F-BDBA-F14A87F382E5}" dt="2023-08-23T17:39:27.232" v="389" actId="165"/>
          <ac:grpSpMkLst>
            <pc:docMk/>
            <pc:sldMk cId="3759578668" sldId="2147472327"/>
            <ac:grpSpMk id="6" creationId="{4E36DF46-FDAC-3A80-D490-2DE37AADAD39}"/>
          </ac:grpSpMkLst>
        </pc:grpChg>
        <pc:grpChg chg="del mod">
          <ac:chgData name="Hillard, Laura" userId="fb6b425a-e8d9-473f-bcd9-e45358f5bb1d" providerId="ADAL" clId="{B7BD03E0-211E-486F-BDBA-F14A87F382E5}" dt="2023-08-23T17:39:20.783" v="388" actId="165"/>
          <ac:grpSpMkLst>
            <pc:docMk/>
            <pc:sldMk cId="3759578668" sldId="2147472327"/>
            <ac:grpSpMk id="7" creationId="{664844E2-7BF8-708D-265C-1DFDC1D52356}"/>
          </ac:grpSpMkLst>
        </pc:grpChg>
        <pc:grpChg chg="add mod">
          <ac:chgData name="Hillard, Laura" userId="fb6b425a-e8d9-473f-bcd9-e45358f5bb1d" providerId="ADAL" clId="{B7BD03E0-211E-486F-BDBA-F14A87F382E5}" dt="2023-08-23T17:39:46.267" v="394" actId="164"/>
          <ac:grpSpMkLst>
            <pc:docMk/>
            <pc:sldMk cId="3759578668" sldId="2147472327"/>
            <ac:grpSpMk id="13" creationId="{CB77BF38-F0C7-4190-1F78-2A7FBBE7208A}"/>
          </ac:grpSpMkLst>
        </pc:grpChg>
        <pc:grpChg chg="add mod">
          <ac:chgData name="Hillard, Laura" userId="fb6b425a-e8d9-473f-bcd9-e45358f5bb1d" providerId="ADAL" clId="{B7BD03E0-211E-486F-BDBA-F14A87F382E5}" dt="2023-08-23T17:39:59.847" v="397" actId="164"/>
          <ac:grpSpMkLst>
            <pc:docMk/>
            <pc:sldMk cId="3759578668" sldId="2147472327"/>
            <ac:grpSpMk id="14" creationId="{52207F77-017A-AC72-2E98-B8A14045C232}"/>
          </ac:grpSpMkLst>
        </pc:grpChg>
        <pc:grpChg chg="add mod">
          <ac:chgData name="Hillard, Laura" userId="fb6b425a-e8d9-473f-bcd9-e45358f5bb1d" providerId="ADAL" clId="{B7BD03E0-211E-486F-BDBA-F14A87F382E5}" dt="2023-08-23T17:40:03.947" v="398" actId="164"/>
          <ac:grpSpMkLst>
            <pc:docMk/>
            <pc:sldMk cId="3759578668" sldId="2147472327"/>
            <ac:grpSpMk id="15" creationId="{C90CAE94-C366-5E36-3AD8-E485ED1061D6}"/>
          </ac:grpSpMkLst>
        </pc:grpChg>
        <pc:picChg chg="mod topLvl">
          <ac:chgData name="Hillard, Laura" userId="fb6b425a-e8d9-473f-bcd9-e45358f5bb1d" providerId="ADAL" clId="{B7BD03E0-211E-486F-BDBA-F14A87F382E5}" dt="2023-08-23T17:39:20.783" v="388" actId="165"/>
          <ac:picMkLst>
            <pc:docMk/>
            <pc:sldMk cId="3759578668" sldId="2147472327"/>
            <ac:picMk id="12" creationId="{D17D9078-5130-6B61-669A-3D32C33AE14A}"/>
          </ac:picMkLst>
        </pc:picChg>
        <pc:cxnChg chg="add mod">
          <ac:chgData name="Hillard, Laura" userId="fb6b425a-e8d9-473f-bcd9-e45358f5bb1d" providerId="ADAL" clId="{B7BD03E0-211E-486F-BDBA-F14A87F382E5}" dt="2023-08-23T17:39:59.847" v="397" actId="164"/>
          <ac:cxnSpMkLst>
            <pc:docMk/>
            <pc:sldMk cId="3759578668" sldId="2147472327"/>
            <ac:cxnSpMk id="9" creationId="{CF8193C4-1247-9F2E-5C82-F270231966C0}"/>
          </ac:cxnSpMkLst>
        </pc:cxnChg>
        <pc:cxnChg chg="add mod">
          <ac:chgData name="Hillard, Laura" userId="fb6b425a-e8d9-473f-bcd9-e45358f5bb1d" providerId="ADAL" clId="{B7BD03E0-211E-486F-BDBA-F14A87F382E5}" dt="2023-08-23T17:40:03.947" v="398" actId="164"/>
          <ac:cxnSpMkLst>
            <pc:docMk/>
            <pc:sldMk cId="3759578668" sldId="2147472327"/>
            <ac:cxnSpMk id="11" creationId="{DF0FBBA5-7266-37D5-B36B-F6551F2F6959}"/>
          </ac:cxnSpMkLst>
        </pc:cxnChg>
      </pc:sldChg>
      <pc:sldChg chg="addSp modSp add mod">
        <pc:chgData name="Hillard, Laura" userId="fb6b425a-e8d9-473f-bcd9-e45358f5bb1d" providerId="ADAL" clId="{B7BD03E0-211E-486F-BDBA-F14A87F382E5}" dt="2023-08-23T18:47:55.482" v="617" actId="20577"/>
        <pc:sldMkLst>
          <pc:docMk/>
          <pc:sldMk cId="3654732494" sldId="2147472329"/>
        </pc:sldMkLst>
        <pc:spChg chg="add mod">
          <ac:chgData name="Hillard, Laura" userId="fb6b425a-e8d9-473f-bcd9-e45358f5bb1d" providerId="ADAL" clId="{B7BD03E0-211E-486F-BDBA-F14A87F382E5}" dt="2023-08-23T18:47:55.482" v="617" actId="20577"/>
          <ac:spMkLst>
            <pc:docMk/>
            <pc:sldMk cId="3654732494" sldId="2147472329"/>
            <ac:spMk id="3" creationId="{2325894D-2B7A-7B64-C44D-7F4A529E271D}"/>
          </ac:spMkLst>
        </pc:spChg>
        <pc:spChg chg="mod">
          <ac:chgData name="Hillard, Laura" userId="fb6b425a-e8d9-473f-bcd9-e45358f5bb1d" providerId="ADAL" clId="{B7BD03E0-211E-486F-BDBA-F14A87F382E5}" dt="2023-08-23T18:46:24.005" v="616" actId="14"/>
          <ac:spMkLst>
            <pc:docMk/>
            <pc:sldMk cId="3654732494" sldId="2147472329"/>
            <ac:spMk id="5" creationId="{C8F85860-25AA-40B8-B0E3-B7AAC96BB49F}"/>
          </ac:spMkLst>
        </pc:spChg>
        <pc:spChg chg="mod">
          <ac:chgData name="Hillard, Laura" userId="fb6b425a-e8d9-473f-bcd9-e45358f5bb1d" providerId="ADAL" clId="{B7BD03E0-211E-486F-BDBA-F14A87F382E5}" dt="2023-08-23T18:46:01.111" v="610" actId="1076"/>
          <ac:spMkLst>
            <pc:docMk/>
            <pc:sldMk cId="3654732494" sldId="2147472329"/>
            <ac:spMk id="7" creationId="{88105E7F-D4FE-63EE-0093-739B7A5C702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9C5B48E-675E-4F11-9D4C-A160C8183E3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44E7217-833F-4E3B-B81F-733CF19761B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A963881-5CC3-4CCB-B39E-85ADF772EB57}" type="datetimeFigureOut">
              <a:rPr lang="en-US" smtClean="0"/>
              <a:t>1/12/2024</a:t>
            </a:fld>
            <a:endParaRPr lang="en-US"/>
          </a:p>
        </p:txBody>
      </p:sp>
      <p:sp>
        <p:nvSpPr>
          <p:cNvPr id="4" name="Footer Placeholder 3">
            <a:extLst>
              <a:ext uri="{FF2B5EF4-FFF2-40B4-BE49-F238E27FC236}">
                <a16:creationId xmlns:a16="http://schemas.microsoft.com/office/drawing/2014/main" id="{BD8C3C87-D403-406A-A85E-EB953579E91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7AF397-531E-4820-84C1-4BD40A919FA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27A717B-20D8-46AD-8B6D-D4A7C7C0F518}" type="slidenum">
              <a:rPr lang="en-US" smtClean="0"/>
              <a:t>‹#›</a:t>
            </a:fld>
            <a:endParaRPr lang="en-US"/>
          </a:p>
        </p:txBody>
      </p:sp>
    </p:spTree>
    <p:extLst>
      <p:ext uri="{BB962C8B-B14F-4D97-AF65-F5344CB8AC3E}">
        <p14:creationId xmlns:p14="http://schemas.microsoft.com/office/powerpoint/2010/main" val="746507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EED0A0-2D34-49EF-A14D-03D9CBCEE9C6}" type="datetimeFigureOut">
              <a:rPr lang="en-US" smtClean="0"/>
              <a:t>1/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DD6080-7D2A-4766-A796-98380EB17B32}" type="slidenum">
              <a:rPr lang="en-US" smtClean="0"/>
              <a:t>‹#›</a:t>
            </a:fld>
            <a:endParaRPr lang="en-US"/>
          </a:p>
        </p:txBody>
      </p:sp>
    </p:spTree>
    <p:extLst>
      <p:ext uri="{BB962C8B-B14F-4D97-AF65-F5344CB8AC3E}">
        <p14:creationId xmlns:p14="http://schemas.microsoft.com/office/powerpoint/2010/main" val="39412491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04850"/>
            <a:ext cx="6248400" cy="35147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1239408">
              <a:defRPr/>
            </a:pPr>
            <a:fld id="{C0F4A2C8-6C88-4E71-83EE-698B9D4FE22F}" type="slidenum">
              <a:rPr lang="en-US" sz="1100">
                <a:solidFill>
                  <a:prstClr val="black"/>
                </a:solidFill>
                <a:latin typeface="Arial" panose="020B0604020202020204" pitchFamily="34" charset="0"/>
              </a:rPr>
              <a:pPr defTabSz="1239408">
                <a:defRPr/>
              </a:pPr>
              <a:t>1</a:t>
            </a:fld>
            <a:endParaRPr lang="en-US" sz="1100">
              <a:solidFill>
                <a:prstClr val="black"/>
              </a:solidFill>
              <a:latin typeface="Arial" panose="020B0604020202020204" pitchFamily="34" charset="0"/>
            </a:endParaRPr>
          </a:p>
        </p:txBody>
      </p:sp>
    </p:spTree>
    <p:extLst>
      <p:ext uri="{BB962C8B-B14F-4D97-AF65-F5344CB8AC3E}">
        <p14:creationId xmlns:p14="http://schemas.microsoft.com/office/powerpoint/2010/main" val="2604757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02030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2074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91630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28543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DD6080-7D2A-4766-A796-98380EB17B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316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DD6080-7D2A-4766-A796-98380EB17B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489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7DD6080-7D2A-4766-A796-98380EB17B32}" type="slidenum">
              <a:rPr lang="en-US" smtClean="0"/>
              <a:t>3</a:t>
            </a:fld>
            <a:endParaRPr lang="en-US"/>
          </a:p>
        </p:txBody>
      </p:sp>
    </p:spTree>
    <p:extLst>
      <p:ext uri="{BB962C8B-B14F-4D97-AF65-F5344CB8AC3E}">
        <p14:creationId xmlns:p14="http://schemas.microsoft.com/office/powerpoint/2010/main" val="2410412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02971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75815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2423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72441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86168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208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95634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960369"/>
            <a:ext cx="10972800" cy="1470025"/>
          </a:xfrm>
        </p:spPr>
        <p:txBody>
          <a:bodyPr>
            <a:noAutofit/>
          </a:bodyPr>
          <a:lstStyle>
            <a:lvl1pPr algn="ctr">
              <a:defRPr sz="5400"/>
            </a:lvl1pPr>
          </a:lstStyle>
          <a:p>
            <a:r>
              <a:rPr lang="en-US"/>
              <a:t>Click to edit Master title style</a:t>
            </a:r>
          </a:p>
        </p:txBody>
      </p:sp>
      <p:sp>
        <p:nvSpPr>
          <p:cNvPr id="3" name="Subtitle 2"/>
          <p:cNvSpPr>
            <a:spLocks noGrp="1"/>
          </p:cNvSpPr>
          <p:nvPr>
            <p:ph type="subTitle" idx="1"/>
          </p:nvPr>
        </p:nvSpPr>
        <p:spPr>
          <a:xfrm>
            <a:off x="609600" y="3554881"/>
            <a:ext cx="10972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920FA67-A252-974B-A551-44BECC331CC5}"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2210549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920FA67-A252-974B-A551-44BECC331CC5}"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223136965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481284"/>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332098"/>
            <a:ext cx="6844723" cy="6490168"/>
          </a:xfrm>
          <a:prstGeom prst="rect">
            <a:avLst/>
          </a:prstGeom>
        </p:spPr>
      </p:pic>
      <p:sp>
        <p:nvSpPr>
          <p:cNvPr id="15" name="TextBox 14">
            <a:extLst>
              <a:ext uri="{FF2B5EF4-FFF2-40B4-BE49-F238E27FC236}">
                <a16:creationId xmlns:a16="http://schemas.microsoft.com/office/drawing/2014/main" id="{D0025E2F-68F1-4AFB-85BA-2A2C963C1C7B}"/>
              </a:ext>
            </a:extLst>
          </p:cNvPr>
          <p:cNvSpPr txBox="1"/>
          <p:nvPr userDrawn="1"/>
        </p:nvSpPr>
        <p:spPr>
          <a:xfrm>
            <a:off x="5074920" y="6623576"/>
            <a:ext cx="2042160" cy="161583"/>
          </a:xfrm>
          <a:prstGeom prst="rect">
            <a:avLst/>
          </a:prstGeom>
          <a:noFill/>
        </p:spPr>
        <p:txBody>
          <a:bodyPr wrap="square" lIns="0" tIns="0" rIns="0" bIns="0" rtlCol="0">
            <a:spAutoFit/>
          </a:bodyPr>
          <a:lstStyle/>
          <a:p>
            <a:pPr marL="0" indent="0" algn="ctr">
              <a:spcBef>
                <a:spcPts val="600"/>
              </a:spcBef>
              <a:buSzPct val="100000"/>
              <a:buFont typeface="Arial"/>
              <a:buNone/>
            </a:pPr>
            <a:r>
              <a:rPr lang="en-US" sz="1050">
                <a:solidFill>
                  <a:srgbClr val="FF0000"/>
                </a:solidFill>
              </a:rPr>
              <a:t>For Internal Use</a:t>
            </a:r>
          </a:p>
        </p:txBody>
      </p:sp>
    </p:spTree>
    <p:extLst>
      <p:ext uri="{BB962C8B-B14F-4D97-AF65-F5344CB8AC3E}">
        <p14:creationId xmlns:p14="http://schemas.microsoft.com/office/powerpoint/2010/main" val="381646026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1" name="Text Placeholder 2">
            <a:extLst>
              <a:ext uri="{FF2B5EF4-FFF2-40B4-BE49-F238E27FC236}">
                <a16:creationId xmlns:a16="http://schemas.microsoft.com/office/drawing/2014/main" id="{888E620F-79CA-4AAD-974A-811FA1DDC3AF}"/>
              </a:ext>
              <a:ext uri="{C183D7F6-B498-43B3-948B-1728B52AA6E4}">
                <adec:decorative xmlns:adec="http://schemas.microsoft.com/office/drawing/2017/decorative" val="1"/>
              </a:ext>
            </a:extLst>
          </p:cNvPr>
          <p:cNvSpPr>
            <a:spLocks noGrp="1"/>
          </p:cNvSpPr>
          <p:nvPr>
            <p:ph type="body" sz="quarter" idx="10"/>
          </p:nvPr>
        </p:nvSpPr>
        <p:spPr>
          <a:xfrm>
            <a:off x="330200" y="119744"/>
            <a:ext cx="5394960" cy="356616"/>
          </a:xfrm>
          <a:prstGeom prst="rect">
            <a:avLst/>
          </a:prstGeom>
        </p:spPr>
        <p:txBody>
          <a:bodyPr lIns="73152" tIns="0" rIns="0" bIns="0" anchor="ctr"/>
          <a:lstStyle>
            <a:lvl1pPr marL="0" indent="0">
              <a:spcBef>
                <a:spcPts val="0"/>
              </a:spcBef>
              <a:buNone/>
              <a:defRPr lang="en-US" sz="1000" b="1" kern="0" cap="all" spc="250" baseline="0" dirty="0" smtClean="0">
                <a:solidFill>
                  <a:schemeClr val="tx1"/>
                </a:solidFill>
                <a:latin typeface="+mn-lt"/>
                <a:ea typeface="Nexa Black" charset="0"/>
                <a:cs typeface="Nexa Black" charset="0"/>
              </a:defRPr>
            </a:lvl1pPr>
            <a:lvl2pPr marL="457200" indent="0">
              <a:buNone/>
              <a:defRPr/>
            </a:lvl2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lang="en-US"/>
              <a:t>Click to edit Master text styles</a:t>
            </a:r>
          </a:p>
        </p:txBody>
      </p:sp>
      <p:sp>
        <p:nvSpPr>
          <p:cNvPr id="14" name="Title Placeholder 7">
            <a:extLst>
              <a:ext uri="{FF2B5EF4-FFF2-40B4-BE49-F238E27FC236}">
                <a16:creationId xmlns:a16="http://schemas.microsoft.com/office/drawing/2014/main" id="{FA27A45D-81AC-41F8-8E82-6FBC73044F47}"/>
              </a:ext>
            </a:extLst>
          </p:cNvPr>
          <p:cNvSpPr>
            <a:spLocks noGrp="1"/>
          </p:cNvSpPr>
          <p:nvPr>
            <p:ph type="title"/>
          </p:nvPr>
        </p:nvSpPr>
        <p:spPr>
          <a:xfrm>
            <a:off x="330200" y="419100"/>
            <a:ext cx="8533526" cy="566928"/>
          </a:xfrm>
          <a:prstGeom prst="rect">
            <a:avLst/>
          </a:prstGeom>
        </p:spPr>
        <p:txBody>
          <a:bodyPr vert="horz" lIns="73152" tIns="45720" rIns="91440" bIns="45720" rtlCol="0" anchor="ctr">
            <a:normAutofit/>
          </a:bodyPr>
          <a:lstStyle/>
          <a:p>
            <a:r>
              <a:rPr lang="en-US"/>
              <a:t>Click to edit Master title style</a:t>
            </a:r>
          </a:p>
        </p:txBody>
      </p:sp>
      <p:sp>
        <p:nvSpPr>
          <p:cNvPr id="24" name="Text Placeholder 4">
            <a:extLst>
              <a:ext uri="{FF2B5EF4-FFF2-40B4-BE49-F238E27FC236}">
                <a16:creationId xmlns:a16="http://schemas.microsoft.com/office/drawing/2014/main" id="{40302FAD-B2E1-4EDE-B287-1BB711AB30E7}"/>
              </a:ext>
            </a:extLst>
          </p:cNvPr>
          <p:cNvSpPr>
            <a:spLocks noGrp="1"/>
          </p:cNvSpPr>
          <p:nvPr>
            <p:ph type="body" sz="quarter" idx="11"/>
          </p:nvPr>
        </p:nvSpPr>
        <p:spPr>
          <a:xfrm>
            <a:off x="342726" y="1034648"/>
            <a:ext cx="11411712" cy="566928"/>
          </a:xfrm>
          <a:prstGeom prst="rect">
            <a:avLst/>
          </a:prstGeom>
        </p:spPr>
        <p:txBody>
          <a:bodyPr lIns="73152" tIns="9144" rIns="0" bIns="0"/>
          <a:lstStyle>
            <a:lvl1pPr marL="0" indent="0">
              <a:buNone/>
              <a:defRPr kumimoji="0" lang="en-US" sz="1600" b="0" i="0" u="none" strike="noStrike" kern="1200" cap="none" spc="-5" normalizeH="0" baseline="0" dirty="0" smtClean="0">
                <a:ln>
                  <a:noFill/>
                </a:ln>
                <a:solidFill>
                  <a:prstClr val="black"/>
                </a:solidFill>
                <a:effectLst/>
                <a:uLnTx/>
                <a:uFillTx/>
                <a:latin typeface="+mn-lt"/>
                <a:ea typeface="Open Sans" panose="020B0606030504020204" pitchFamily="34" charset="0"/>
                <a:cs typeface="Open Sans" panose="020B0606030504020204" pitchFamily="34" charset="0"/>
              </a:defRPr>
            </a:lvl1pPr>
            <a:lvl2pPr marL="457200" indent="0">
              <a:buNone/>
              <a:defRPr/>
            </a:lvl2p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13706099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749BBF4E-0007-4CD5-9BF5-A7B9BD374A87}"/>
              </a:ext>
            </a:extLst>
          </p:cNvPr>
          <p:cNvSpPr txBox="1"/>
          <p:nvPr userDrawn="1"/>
        </p:nvSpPr>
        <p:spPr>
          <a:xfrm>
            <a:off x="11410953" y="6477000"/>
            <a:ext cx="307975" cy="123111"/>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00" noProof="0" smtClean="0">
                <a:solidFill>
                  <a:schemeClr val="tx1"/>
                </a:solidFill>
              </a:rPr>
              <a:pPr marL="0" indent="0" algn="r">
                <a:spcBef>
                  <a:spcPts val="800"/>
                </a:spcBef>
                <a:buSzPct val="100000"/>
                <a:buFont typeface="Arial"/>
                <a:buNone/>
              </a:pPr>
              <a:t>‹#›</a:t>
            </a:fld>
            <a:endParaRPr lang="en-US" sz="800" noProof="0">
              <a:solidFill>
                <a:schemeClr val="tx1"/>
              </a:solidFill>
            </a:endParaRPr>
          </a:p>
        </p:txBody>
      </p:sp>
      <p:pic>
        <p:nvPicPr>
          <p:cNvPr id="6" name="Picture 2" descr="Ebola grant expanded from $12 million to $24 million | Emory University |  Atlanta, GA">
            <a:extLst>
              <a:ext uri="{FF2B5EF4-FFF2-40B4-BE49-F238E27FC236}">
                <a16:creationId xmlns:a16="http://schemas.microsoft.com/office/drawing/2014/main" id="{62A90C80-75FD-478D-9EFD-18CC0612D73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275819" y="136525"/>
            <a:ext cx="1724026" cy="6619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20BCD44-BCCA-4CE4-82AB-13BC2613235E}"/>
              </a:ext>
            </a:extLst>
          </p:cNvPr>
          <p:cNvSpPr txBox="1"/>
          <p:nvPr userDrawn="1"/>
        </p:nvSpPr>
        <p:spPr>
          <a:xfrm>
            <a:off x="5074920" y="6623576"/>
            <a:ext cx="2042160" cy="161583"/>
          </a:xfrm>
          <a:prstGeom prst="rect">
            <a:avLst/>
          </a:prstGeom>
          <a:noFill/>
        </p:spPr>
        <p:txBody>
          <a:bodyPr wrap="square" lIns="0" tIns="0" rIns="0" bIns="0" rtlCol="0">
            <a:spAutoFit/>
          </a:bodyPr>
          <a:lstStyle/>
          <a:p>
            <a:pPr marL="0" indent="0" algn="ctr">
              <a:spcBef>
                <a:spcPts val="600"/>
              </a:spcBef>
              <a:buSzPct val="100000"/>
              <a:buFont typeface="Arial"/>
              <a:buNone/>
            </a:pPr>
            <a:r>
              <a:rPr lang="en-US" sz="1050">
                <a:solidFill>
                  <a:srgbClr val="FF0000"/>
                </a:solidFill>
              </a:rPr>
              <a:t>For Internal Use</a:t>
            </a:r>
          </a:p>
        </p:txBody>
      </p:sp>
    </p:spTree>
    <p:extLst>
      <p:ext uri="{BB962C8B-B14F-4D97-AF65-F5344CB8AC3E}">
        <p14:creationId xmlns:p14="http://schemas.microsoft.com/office/powerpoint/2010/main" val="61182693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280989481"/>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0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735C4CBC-FD80-4469-B24B-50006783834E}"/>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Weekly Status Report </a:t>
            </a:r>
          </a:p>
          <a:p>
            <a:pPr marL="0" indent="0" algn="r">
              <a:spcBef>
                <a:spcPts val="0"/>
              </a:spcBef>
              <a:buSzPct val="100000"/>
              <a:buFont typeface="Arial"/>
              <a:buNone/>
            </a:pPr>
            <a:endParaRPr lang="en-US" sz="650" noProof="0">
              <a:solidFill>
                <a:schemeClr val="bg1"/>
              </a:solidFill>
              <a:latin typeface="Verdana (Headings)"/>
            </a:endParaRPr>
          </a:p>
        </p:txBody>
      </p:sp>
    </p:spTree>
    <p:extLst>
      <p:ext uri="{BB962C8B-B14F-4D97-AF65-F5344CB8AC3E}">
        <p14:creationId xmlns:p14="http://schemas.microsoft.com/office/powerpoint/2010/main" val="42145971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8014681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288F1DA5-AF4D-4AD2-85A6-85B656A934DB}"/>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spTree>
    <p:extLst>
      <p:ext uri="{BB962C8B-B14F-4D97-AF65-F5344CB8AC3E}">
        <p14:creationId xmlns:p14="http://schemas.microsoft.com/office/powerpoint/2010/main" val="25631314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5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7837346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6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288F1DA5-AF4D-4AD2-85A6-85B656A934DB}"/>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r>
              <a:rPr lang="en-US" sz="650" noProof="0">
                <a:solidFill>
                  <a:schemeClr val="bg1"/>
                </a:solidFill>
              </a:rPr>
              <a:t>9 June 2021</a:t>
            </a:r>
          </a:p>
        </p:txBody>
      </p:sp>
    </p:spTree>
    <p:extLst>
      <p:ext uri="{BB962C8B-B14F-4D97-AF65-F5344CB8AC3E}">
        <p14:creationId xmlns:p14="http://schemas.microsoft.com/office/powerpoint/2010/main" val="40335463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5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pic>
        <p:nvPicPr>
          <p:cNvPr id="6" name="Picture 5">
            <a:extLst>
              <a:ext uri="{FF2B5EF4-FFF2-40B4-BE49-F238E27FC236}">
                <a16:creationId xmlns:a16="http://schemas.microsoft.com/office/drawing/2014/main" id="{F84A381B-10A2-4327-9C45-6EACA400734B}"/>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artisticCrisscrossEtching/>
                    </a14:imgEffect>
                  </a14:imgLayer>
                </a14:imgProps>
              </a:ext>
            </a:extLst>
          </a:blip>
          <a:stretch>
            <a:fillRect/>
          </a:stretch>
        </p:blipFill>
        <p:spPr>
          <a:xfrm>
            <a:off x="10526061" y="110185"/>
            <a:ext cx="1515582" cy="283215"/>
          </a:xfrm>
          <a:prstGeom prst="rect">
            <a:avLst/>
          </a:prstGeom>
        </p:spPr>
      </p:pic>
    </p:spTree>
    <p:extLst>
      <p:ext uri="{BB962C8B-B14F-4D97-AF65-F5344CB8AC3E}">
        <p14:creationId xmlns:p14="http://schemas.microsoft.com/office/powerpoint/2010/main" val="261711278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012826"/>
            <a:ext cx="2743200" cy="50858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1012826"/>
            <a:ext cx="8026400" cy="50858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920FA67-A252-974B-A551-44BECC331CC5}"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58476857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7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288F1DA5-AF4D-4AD2-85A6-85B656A934DB}"/>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pic>
        <p:nvPicPr>
          <p:cNvPr id="7" name="Picture 6">
            <a:extLst>
              <a:ext uri="{FF2B5EF4-FFF2-40B4-BE49-F238E27FC236}">
                <a16:creationId xmlns:a16="http://schemas.microsoft.com/office/drawing/2014/main" id="{DC900DFF-07CB-47B5-BA13-93C329869C75}"/>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artisticCrisscrossEtching/>
                    </a14:imgEffect>
                  </a14:imgLayer>
                </a14:imgProps>
              </a:ext>
            </a:extLst>
          </a:blip>
          <a:stretch>
            <a:fillRect/>
          </a:stretch>
        </p:blipFill>
        <p:spPr>
          <a:xfrm>
            <a:off x="10526061" y="110185"/>
            <a:ext cx="1515582" cy="283215"/>
          </a:xfrm>
          <a:prstGeom prst="rect">
            <a:avLst/>
          </a:prstGeom>
        </p:spPr>
      </p:pic>
    </p:spTree>
    <p:extLst>
      <p:ext uri="{BB962C8B-B14F-4D97-AF65-F5344CB8AC3E}">
        <p14:creationId xmlns:p14="http://schemas.microsoft.com/office/powerpoint/2010/main" val="34656722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537DB-043F-410D-BC2E-4012A20BCA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E8F4C68-0BE2-8A0E-34A0-2B981A55B0E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F6F0500-7051-CEDA-522D-815AA49A7D4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CB05A2-1EFB-D36E-A67E-968F6B6ED9E7}"/>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40282810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2_Title, Breadcrumbs">
    <p:spTree>
      <p:nvGrpSpPr>
        <p:cNvPr id="1" name=""/>
        <p:cNvGrpSpPr/>
        <p:nvPr/>
      </p:nvGrpSpPr>
      <p:grpSpPr>
        <a:xfrm>
          <a:off x="0" y="0"/>
          <a:ext cx="0" cy="0"/>
          <a:chOff x="0" y="0"/>
          <a:chExt cx="0" cy="0"/>
        </a:xfrm>
      </p:grpSpPr>
      <p:sp>
        <p:nvSpPr>
          <p:cNvPr id="21" name="Text Placeholder 2">
            <a:extLst>
              <a:ext uri="{FF2B5EF4-FFF2-40B4-BE49-F238E27FC236}">
                <a16:creationId xmlns:a16="http://schemas.microsoft.com/office/drawing/2014/main" id="{888E620F-79CA-4AAD-974A-811FA1DDC3AF}"/>
              </a:ext>
              <a:ext uri="{C183D7F6-B498-43B3-948B-1728B52AA6E4}">
                <adec:decorative xmlns:adec="http://schemas.microsoft.com/office/drawing/2017/decorative" val="1"/>
              </a:ext>
            </a:extLst>
          </p:cNvPr>
          <p:cNvSpPr>
            <a:spLocks noGrp="1"/>
          </p:cNvSpPr>
          <p:nvPr>
            <p:ph type="body" sz="quarter" idx="10"/>
          </p:nvPr>
        </p:nvSpPr>
        <p:spPr>
          <a:xfrm>
            <a:off x="330200" y="119744"/>
            <a:ext cx="5394960" cy="356616"/>
          </a:xfrm>
          <a:prstGeom prst="rect">
            <a:avLst/>
          </a:prstGeom>
        </p:spPr>
        <p:txBody>
          <a:bodyPr lIns="73152" tIns="0" rIns="0" bIns="0" anchor="ctr"/>
          <a:lstStyle>
            <a:lvl1pPr marL="0" indent="0">
              <a:spcBef>
                <a:spcPts val="0"/>
              </a:spcBef>
              <a:buNone/>
              <a:defRPr lang="en-US" sz="1000" b="1" kern="0" cap="all" spc="250" baseline="0" dirty="0" smtClean="0">
                <a:solidFill>
                  <a:schemeClr val="tx1"/>
                </a:solidFill>
                <a:latin typeface="+mn-lt"/>
                <a:ea typeface="Nexa Black" charset="0"/>
                <a:cs typeface="Nexa Black" charset="0"/>
              </a:defRPr>
            </a:lvl1pPr>
            <a:lvl2pPr marL="457200" indent="0">
              <a:buNone/>
              <a:defRPr/>
            </a:lvl2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lang="en-US"/>
              <a:t>Click to edit Master text styles</a:t>
            </a:r>
          </a:p>
        </p:txBody>
      </p:sp>
      <p:sp>
        <p:nvSpPr>
          <p:cNvPr id="14" name="Title Placeholder 7">
            <a:extLst>
              <a:ext uri="{FF2B5EF4-FFF2-40B4-BE49-F238E27FC236}">
                <a16:creationId xmlns:a16="http://schemas.microsoft.com/office/drawing/2014/main" id="{FA27A45D-81AC-41F8-8E82-6FBC73044F47}"/>
              </a:ext>
            </a:extLst>
          </p:cNvPr>
          <p:cNvSpPr>
            <a:spLocks noGrp="1"/>
          </p:cNvSpPr>
          <p:nvPr>
            <p:ph type="title"/>
          </p:nvPr>
        </p:nvSpPr>
        <p:spPr>
          <a:xfrm>
            <a:off x="330200" y="419100"/>
            <a:ext cx="8533526" cy="566928"/>
          </a:xfrm>
          <a:prstGeom prst="rect">
            <a:avLst/>
          </a:prstGeom>
        </p:spPr>
        <p:txBody>
          <a:bodyPr vert="horz" lIns="73152" tIns="45720" rIns="91440" bIns="45720" rtlCol="0" anchor="ctr">
            <a:normAutofit/>
          </a:bodyPr>
          <a:lstStyle/>
          <a:p>
            <a:r>
              <a:rPr lang="en-US"/>
              <a:t>Click to edit Master title style</a:t>
            </a:r>
          </a:p>
        </p:txBody>
      </p:sp>
      <p:sp>
        <p:nvSpPr>
          <p:cNvPr id="24" name="Text Placeholder 4">
            <a:extLst>
              <a:ext uri="{FF2B5EF4-FFF2-40B4-BE49-F238E27FC236}">
                <a16:creationId xmlns:a16="http://schemas.microsoft.com/office/drawing/2014/main" id="{40302FAD-B2E1-4EDE-B287-1BB711AB30E7}"/>
              </a:ext>
            </a:extLst>
          </p:cNvPr>
          <p:cNvSpPr>
            <a:spLocks noGrp="1"/>
          </p:cNvSpPr>
          <p:nvPr>
            <p:ph type="body" sz="quarter" idx="11"/>
          </p:nvPr>
        </p:nvSpPr>
        <p:spPr>
          <a:xfrm>
            <a:off x="342726" y="1034648"/>
            <a:ext cx="11411712" cy="566928"/>
          </a:xfrm>
          <a:prstGeom prst="rect">
            <a:avLst/>
          </a:prstGeom>
        </p:spPr>
        <p:txBody>
          <a:bodyPr lIns="73152" tIns="9144" rIns="0" bIns="0"/>
          <a:lstStyle>
            <a:lvl1pPr marL="0" indent="0">
              <a:buNone/>
              <a:defRPr kumimoji="0" lang="en-US" sz="1600" b="0" i="0" u="none" strike="noStrike" kern="1200" cap="none" spc="-5" normalizeH="0" baseline="0" dirty="0" smtClean="0">
                <a:ln>
                  <a:noFill/>
                </a:ln>
                <a:solidFill>
                  <a:prstClr val="black"/>
                </a:solidFill>
                <a:effectLst/>
                <a:uLnTx/>
                <a:uFillTx/>
                <a:latin typeface="+mn-lt"/>
                <a:ea typeface="Open Sans" panose="020B0606030504020204" pitchFamily="34" charset="0"/>
                <a:cs typeface="Open Sans" panose="020B0606030504020204" pitchFamily="34" charset="0"/>
              </a:defRPr>
            </a:lvl1pPr>
            <a:lvl2pPr marL="457200" indent="0">
              <a:buNone/>
              <a:defRPr/>
            </a:lvl2p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lang="en-US"/>
              <a:t>Click to edit Master text styles</a:t>
            </a:r>
          </a:p>
        </p:txBody>
      </p:sp>
    </p:spTree>
    <p:extLst>
      <p:ext uri="{BB962C8B-B14F-4D97-AF65-F5344CB8AC3E}">
        <p14:creationId xmlns:p14="http://schemas.microsoft.com/office/powerpoint/2010/main" val="1681949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9E421-A6B1-4450-B852-21E1626109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F45A23-FACF-4243-ADE7-D0E2D5B104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99D4CD1-F041-4F55-A2F9-33B89F5EB5A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93FB51E-0100-40AA-881B-EE32FDAFB9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2CBA83-1596-43A7-8F43-0DAADA87F299}"/>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2677060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B6AB4-22D2-4E47-91B1-838DE380DB6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F16B20-4996-42DD-ABA0-D000DFEA357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58F58A-5ED0-4682-8364-A1131416EF0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F9AC23F-D60C-47F3-AA94-38385DE922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9DA6B5-4545-4354-9983-21A461E765D2}"/>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22947612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5E8EB-4509-4BFF-8600-53BDDCA8DA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574254-8C05-41D1-9E4D-33430E18D6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EB17228-0751-4F6A-B9EB-D3B21A8E40D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9587DF7-B074-4258-89DC-BB10664E83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20786-03BB-40CA-9441-6CD1216AAF16}"/>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38989536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EB455-2A5B-4EDB-8C2E-ED3C1FE491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3A3BF5-8831-408B-AE52-B7EB9F41071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0B8C496-A554-4D84-9022-60927A2E7FF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1C47D83-F3D6-4DD6-8758-58023107D47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E446ED48-058E-44B8-9C72-79E033B365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2C61AC-BC61-4073-9EA2-E52AAB03A17E}"/>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34064194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D279C-63B3-42DB-8AD3-E08EFD23499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B60310-D0A9-42FF-9AD5-BD08EB97D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92186E-13D5-4F61-A7F7-59E509565D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B288EC-703B-44F2-BD71-246C59732F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09F581B-642D-4BC6-A8A0-241D17CFBD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589660-7690-4129-B4FC-40D3812754C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75321DD4-17EA-43B4-AC40-192445D9E3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769B324-DE89-4DF2-A6B0-761FBA0A956A}"/>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33812147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C35F5-0505-4391-A8C1-565353CF991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66E173-F07B-4E69-8301-85D2715558A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B03BEE00-DB5A-4B0D-BD65-EB0F6E9585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2080B4-173F-46D2-921F-DF3C6D6C2AB1}"/>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24815006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C27123-A481-4435-A9DA-3C09B89A354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CBD3C93-B304-45A2-93AB-836A74BD04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E0A71F9-F5BB-451E-A005-4593AA02317C}"/>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22514527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47E54-C586-49C0-92BE-BD483C5768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564FC9-1DA4-4CE2-B0B4-72DCD129A2A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3AF77D6-5F8D-4D55-9C5D-0985794623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00769F-732E-428F-8880-69DBF5C7729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16F4FBA-8F68-4EC3-8E37-10D514ACE5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6F5DE5-5661-43C6-9297-8F18DB56BFEA}"/>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3234532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920FA67-A252-974B-A551-44BECC331CC5}"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654103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F1F57-EB78-40B0-8B42-1E25C7A650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8349743-B0D3-4DE9-8AB0-448A6EAF5C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975077E-7173-4262-864B-D1D38ED15D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5A0435A-EDC8-41F7-B30C-4D514AC4314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E4976FAA-9D70-4B27-813B-A2354A4D80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4A6FC0-D0B1-4795-8F84-4B384FEA8BD5}"/>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42164209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DE87F-EE31-4BF5-B3BB-8933C1FE96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8169F17-6C0E-4519-96C7-D9936A80152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8CD45A-0D63-420A-80D4-B74F45DC1D3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D20C843-0006-4273-98EC-C9959359A7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3363A8-86A3-45A9-B264-9BC9CEEE15FC}"/>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25629560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98CABF-7FA4-43ED-913F-810C94B48ED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7E2BA4D-DD45-4560-BA66-E81DA2A2D03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BB5B4F-0175-47A4-86CB-C84B272743F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991F9AD-2F98-4789-83EE-20CEA24578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47C558-1B4E-491A-A1BE-1273F0204782}"/>
              </a:ext>
            </a:extLst>
          </p:cNvPr>
          <p:cNvSpPr>
            <a:spLocks noGrp="1"/>
          </p:cNvSpPr>
          <p:nvPr>
            <p:ph type="sldNum" sz="quarter" idx="12"/>
          </p:nvPr>
        </p:nvSpPr>
        <p:spPr/>
        <p:txBody>
          <a:bodyPr/>
          <a:lstStyle/>
          <a:p>
            <a:fld id="{77F4BF5D-8F9B-407A-AC8F-1C7206B5B534}" type="slidenum">
              <a:rPr lang="en-US" smtClean="0"/>
              <a:t>‹#›</a:t>
            </a:fld>
            <a:endParaRPr lang="en-US"/>
          </a:p>
        </p:txBody>
      </p:sp>
    </p:spTree>
    <p:extLst>
      <p:ext uri="{BB962C8B-B14F-4D97-AF65-F5344CB8AC3E}">
        <p14:creationId xmlns:p14="http://schemas.microsoft.com/office/powerpoint/2010/main" val="1403529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685647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pic>
        <p:nvPicPr>
          <p:cNvPr id="11" name="Picture 10">
            <a:extLst>
              <a:ext uri="{FF2B5EF4-FFF2-40B4-BE49-F238E27FC236}">
                <a16:creationId xmlns:a16="http://schemas.microsoft.com/office/drawing/2014/main" id="{F1FADE3E-8E33-4C32-A3B1-269A4FBD1B7B}"/>
              </a:ext>
            </a:extLst>
          </p:cNvPr>
          <p:cNvPicPr>
            <a:picLocks noChangeAspect="1"/>
          </p:cNvPicPr>
          <p:nvPr userDrawn="1"/>
        </p:nvPicPr>
        <p:blipFill>
          <a:blip r:embed="rId2">
            <a:grayscl/>
            <a:extLst>
              <a:ext uri="{BEBA8EAE-BF5A-486C-A8C5-ECC9F3942E4B}">
                <a14:imgProps xmlns:a14="http://schemas.microsoft.com/office/drawing/2010/main">
                  <a14:imgLayer r:embed="rId3">
                    <a14:imgEffect>
                      <a14:artisticCrisscrossEtching/>
                    </a14:imgEffect>
                  </a14:imgLayer>
                </a14:imgProps>
              </a:ext>
            </a:extLst>
          </a:blip>
          <a:stretch>
            <a:fillRect/>
          </a:stretch>
        </p:blipFill>
        <p:spPr>
          <a:xfrm>
            <a:off x="10526061" y="110185"/>
            <a:ext cx="1515582" cy="283215"/>
          </a:xfrm>
          <a:prstGeom prst="rect">
            <a:avLst/>
          </a:prstGeom>
        </p:spPr>
      </p:pic>
    </p:spTree>
    <p:extLst>
      <p:ext uri="{BB962C8B-B14F-4D97-AF65-F5344CB8AC3E}">
        <p14:creationId xmlns:p14="http://schemas.microsoft.com/office/powerpoint/2010/main" val="33887343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837821134"/>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36137494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4564265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008250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777009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564843"/>
            <a:ext cx="10972800" cy="1204133"/>
          </a:xfrm>
        </p:spPr>
        <p:txBody>
          <a:bodyPr anchor="t"/>
          <a:lstStyle>
            <a:lvl1pPr algn="l">
              <a:defRPr sz="4000" b="1" cap="none"/>
            </a:lvl1pPr>
          </a:lstStyle>
          <a:p>
            <a:r>
              <a:rPr lang="en-US"/>
              <a:t>Click to edit Master title style</a:t>
            </a:r>
          </a:p>
        </p:txBody>
      </p:sp>
      <p:sp>
        <p:nvSpPr>
          <p:cNvPr id="3" name="Text Placeholder 2"/>
          <p:cNvSpPr>
            <a:spLocks noGrp="1"/>
          </p:cNvSpPr>
          <p:nvPr>
            <p:ph type="body" idx="1"/>
          </p:nvPr>
        </p:nvSpPr>
        <p:spPr>
          <a:xfrm>
            <a:off x="609600" y="2906713"/>
            <a:ext cx="10972800" cy="1500187"/>
          </a:xfr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920FA67-A252-974B-A551-44BECC331CC5}" type="datetimeFigureOut">
              <a:rPr lang="en-US" smtClean="0"/>
              <a:pPr/>
              <a:t>1/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38010605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49192278"/>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BC224BE2-F841-43AA-9E75-CDACB8CA847A}"/>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p:txBody>
      </p:sp>
    </p:spTree>
    <p:extLst>
      <p:ext uri="{BB962C8B-B14F-4D97-AF65-F5344CB8AC3E}">
        <p14:creationId xmlns:p14="http://schemas.microsoft.com/office/powerpoint/2010/main" val="33358842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BEFAC8F9-DF78-4AEA-99C9-B929AE9D73E8}"/>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spTree>
    <p:extLst>
      <p:ext uri="{BB962C8B-B14F-4D97-AF65-F5344CB8AC3E}">
        <p14:creationId xmlns:p14="http://schemas.microsoft.com/office/powerpoint/2010/main" val="272626336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2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735C4CBC-FD80-4469-B24B-50006783834E}"/>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Weekly Status Report </a:t>
            </a:r>
          </a:p>
          <a:p>
            <a:pPr marL="0" indent="0" algn="r">
              <a:spcBef>
                <a:spcPts val="0"/>
              </a:spcBef>
              <a:buSzPct val="100000"/>
              <a:buFont typeface="Arial"/>
              <a:buNone/>
            </a:pPr>
            <a:endParaRPr lang="en-US" sz="650" noProof="0">
              <a:solidFill>
                <a:schemeClr val="bg1"/>
              </a:solidFill>
              <a:latin typeface="Verdana (Headings)"/>
            </a:endParaRPr>
          </a:p>
        </p:txBody>
      </p:sp>
    </p:spTree>
    <p:extLst>
      <p:ext uri="{BB962C8B-B14F-4D97-AF65-F5344CB8AC3E}">
        <p14:creationId xmlns:p14="http://schemas.microsoft.com/office/powerpoint/2010/main" val="115142898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401D23DF-9146-4329-BC70-8164A4039E39}"/>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spTree>
    <p:extLst>
      <p:ext uri="{BB962C8B-B14F-4D97-AF65-F5344CB8AC3E}">
        <p14:creationId xmlns:p14="http://schemas.microsoft.com/office/powerpoint/2010/main" val="180347260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3F46925E-9483-40EE-9A10-3AD30BC8AFFD}"/>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spTree>
    <p:extLst>
      <p:ext uri="{BB962C8B-B14F-4D97-AF65-F5344CB8AC3E}">
        <p14:creationId xmlns:p14="http://schemas.microsoft.com/office/powerpoint/2010/main" val="77190813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85491507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2E577B06-6882-4E07-AC2C-223D66A1F1E2}"/>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spTree>
    <p:extLst>
      <p:ext uri="{BB962C8B-B14F-4D97-AF65-F5344CB8AC3E}">
        <p14:creationId xmlns:p14="http://schemas.microsoft.com/office/powerpoint/2010/main" val="8244223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D57AE907-2FA1-47CA-973B-BF36C99D2AE6}"/>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spTree>
    <p:extLst>
      <p:ext uri="{BB962C8B-B14F-4D97-AF65-F5344CB8AC3E}">
        <p14:creationId xmlns:p14="http://schemas.microsoft.com/office/powerpoint/2010/main" val="31404283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288F1DA5-AF4D-4AD2-85A6-85B656A934DB}"/>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pic>
        <p:nvPicPr>
          <p:cNvPr id="7" name="Picture 6">
            <a:extLst>
              <a:ext uri="{FF2B5EF4-FFF2-40B4-BE49-F238E27FC236}">
                <a16:creationId xmlns:a16="http://schemas.microsoft.com/office/drawing/2014/main" id="{BE14D2D2-C63A-4AA4-AA15-FB211FF5E2E1}"/>
              </a:ext>
            </a:extLst>
          </p:cNvPr>
          <p:cNvPicPr>
            <a:picLocks noChangeAspect="1"/>
          </p:cNvPicPr>
          <p:nvPr userDrawn="1"/>
        </p:nvPicPr>
        <p:blipFill>
          <a:blip r:embed="rId2">
            <a:grayscl/>
            <a:extLst>
              <a:ext uri="{BEBA8EAE-BF5A-486C-A8C5-ECC9F3942E4B}">
                <a14:imgProps xmlns:a14="http://schemas.microsoft.com/office/drawing/2010/main">
                  <a14:imgLayer r:embed="rId3">
                    <a14:imgEffect>
                      <a14:artisticCrisscrossEtching/>
                    </a14:imgEffect>
                  </a14:imgLayer>
                </a14:imgProps>
              </a:ext>
            </a:extLst>
          </a:blip>
          <a:stretch>
            <a:fillRect/>
          </a:stretch>
        </p:blipFill>
        <p:spPr>
          <a:xfrm>
            <a:off x="10526061" y="110185"/>
            <a:ext cx="1515582" cy="283215"/>
          </a:xfrm>
          <a:prstGeom prst="rect">
            <a:avLst/>
          </a:prstGeom>
        </p:spPr>
      </p:pic>
    </p:spTree>
    <p:extLst>
      <p:ext uri="{BB962C8B-B14F-4D97-AF65-F5344CB8AC3E}">
        <p14:creationId xmlns:p14="http://schemas.microsoft.com/office/powerpoint/2010/main" val="1605840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2160031"/>
            <a:ext cx="5384800" cy="39386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2160030"/>
            <a:ext cx="5384800" cy="393860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920FA67-A252-974B-A551-44BECC331CC5}" type="datetimeFigureOut">
              <a:rPr lang="en-US" smtClean="0"/>
              <a:pPr/>
              <a:t>1/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35556427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6EEFE3D7-6E67-41CB-B62E-701C456970CB}"/>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endParaRPr lang="en-US" sz="650" noProof="0">
              <a:solidFill>
                <a:schemeClr val="bg1"/>
              </a:solidFill>
            </a:endParaRPr>
          </a:p>
        </p:txBody>
      </p:sp>
    </p:spTree>
    <p:extLst>
      <p:ext uri="{BB962C8B-B14F-4D97-AF65-F5344CB8AC3E}">
        <p14:creationId xmlns:p14="http://schemas.microsoft.com/office/powerpoint/2010/main" val="3593467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880462461"/>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951544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13764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420670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982280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153292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437754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562998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511787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2173529"/>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975738"/>
            <a:ext cx="5386917" cy="312290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2173529"/>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975738"/>
            <a:ext cx="5389033" cy="312290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920FA67-A252-974B-A551-44BECC331CC5}" type="datetimeFigureOut">
              <a:rPr lang="en-US" smtClean="0"/>
              <a:pPr/>
              <a:t>1/1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15667717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883092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08301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1025582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0003212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419680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541625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50484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5031789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714651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926582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920FA67-A252-974B-A551-44BECC331CC5}" type="datetimeFigureOut">
              <a:rPr lang="en-US" smtClean="0"/>
              <a:pPr/>
              <a:t>1/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4288858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43754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7223149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62732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7641577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945079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A0B077FF-0B9D-45F2-BCFB-917E0F2401F4}"/>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Onboarding</a:t>
            </a:r>
          </a:p>
          <a:p>
            <a:pPr marL="0" indent="0" algn="r">
              <a:spcBef>
                <a:spcPts val="0"/>
              </a:spcBef>
              <a:buSzPct val="100000"/>
              <a:buFont typeface="Arial"/>
              <a:buNone/>
            </a:pPr>
            <a:endParaRPr lang="en-US" sz="650" noProof="0">
              <a:solidFill>
                <a:schemeClr val="bg1"/>
              </a:solidFill>
              <a:latin typeface="Verdana (Headings)"/>
            </a:endParaRPr>
          </a:p>
        </p:txBody>
      </p:sp>
    </p:spTree>
    <p:extLst>
      <p:ext uri="{BB962C8B-B14F-4D97-AF65-F5344CB8AC3E}">
        <p14:creationId xmlns:p14="http://schemas.microsoft.com/office/powerpoint/2010/main" val="186047922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9576FCFD-0C9A-44F0-A00E-87155FEE78AF}"/>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Onboarding</a:t>
            </a:r>
          </a:p>
          <a:p>
            <a:pPr marL="0" indent="0" algn="r">
              <a:spcBef>
                <a:spcPts val="0"/>
              </a:spcBef>
              <a:buSzPct val="100000"/>
              <a:buFont typeface="Arial"/>
              <a:buNone/>
            </a:pPr>
            <a:r>
              <a:rPr lang="en-US" sz="650" noProof="0">
                <a:solidFill>
                  <a:schemeClr val="bg1"/>
                </a:solidFill>
                <a:latin typeface="Verdana (Headings)"/>
              </a:rPr>
              <a:t>1</a:t>
            </a:r>
          </a:p>
        </p:txBody>
      </p:sp>
    </p:spTree>
    <p:extLst>
      <p:ext uri="{BB962C8B-B14F-4D97-AF65-F5344CB8AC3E}">
        <p14:creationId xmlns:p14="http://schemas.microsoft.com/office/powerpoint/2010/main" val="291379994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Weekly Status Report</a:t>
            </a:r>
          </a:p>
          <a:p>
            <a:pPr marL="0" indent="0" algn="r">
              <a:spcBef>
                <a:spcPts val="0"/>
              </a:spcBef>
              <a:buSzPct val="100000"/>
              <a:buFont typeface="Arial"/>
              <a:buNone/>
            </a:pPr>
            <a:endParaRPr lang="en-US" sz="650" noProof="0">
              <a:solidFill>
                <a:schemeClr val="bg1"/>
              </a:solidFill>
            </a:endParaRP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9443420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12" name="TextBox 11">
            <a:extLst>
              <a:ext uri="{FF2B5EF4-FFF2-40B4-BE49-F238E27FC236}">
                <a16:creationId xmlns:a16="http://schemas.microsoft.com/office/drawing/2014/main" id="{95086AC1-F8B5-41B0-84E7-45242A72839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7" name="CaseCode">
            <a:extLst>
              <a:ext uri="{FF2B5EF4-FFF2-40B4-BE49-F238E27FC236}">
                <a16:creationId xmlns:a16="http://schemas.microsoft.com/office/drawing/2014/main" id="{4ADF1EF7-75AE-463F-9A5D-A8E0384E1EB7}"/>
              </a:ext>
            </a:extLst>
          </p:cNvPr>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Onboarding1</a:t>
            </a:r>
          </a:p>
        </p:txBody>
      </p:sp>
    </p:spTree>
    <p:extLst>
      <p:ext uri="{BB962C8B-B14F-4D97-AF65-F5344CB8AC3E}">
        <p14:creationId xmlns:p14="http://schemas.microsoft.com/office/powerpoint/2010/main" val="92011700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1CCD1A83-0599-4FCA-A51E-F3E18ABF1C95}"/>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Weekly Status Report</a:t>
            </a:r>
          </a:p>
          <a:p>
            <a:pPr marL="0" indent="0" algn="r">
              <a:spcBef>
                <a:spcPts val="0"/>
              </a:spcBef>
              <a:buSzPct val="100000"/>
              <a:buFont typeface="Arial"/>
              <a:buNone/>
            </a:pPr>
            <a:endParaRPr lang="en-US" sz="650" noProof="0">
              <a:solidFill>
                <a:schemeClr val="bg1"/>
              </a:solidFill>
            </a:endParaRPr>
          </a:p>
        </p:txBody>
      </p:sp>
    </p:spTree>
    <p:extLst>
      <p:ext uri="{BB962C8B-B14F-4D97-AF65-F5344CB8AC3E}">
        <p14:creationId xmlns:p14="http://schemas.microsoft.com/office/powerpoint/2010/main" val="269500057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20FA67-A252-974B-A551-44BECC331CC5}" type="datetimeFigureOut">
              <a:rPr lang="en-US" smtClean="0"/>
              <a:pPr/>
              <a:t>1/1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37774519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40E36302-A259-444F-957D-BC7F823C4355}"/>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Weekly Status Report</a:t>
            </a:r>
          </a:p>
          <a:p>
            <a:pPr marL="0" indent="0" algn="r">
              <a:spcBef>
                <a:spcPts val="0"/>
              </a:spcBef>
              <a:buSzPct val="100000"/>
              <a:buFont typeface="Arial"/>
              <a:buNone/>
            </a:pPr>
            <a:r>
              <a:rPr lang="en-US" sz="650" noProof="0">
                <a:solidFill>
                  <a:schemeClr val="bg1"/>
                </a:solidFill>
              </a:rPr>
              <a:t>10 June 2021</a:t>
            </a:r>
          </a:p>
        </p:txBody>
      </p:sp>
    </p:spTree>
    <p:extLst>
      <p:ext uri="{BB962C8B-B14F-4D97-AF65-F5344CB8AC3E}">
        <p14:creationId xmlns:p14="http://schemas.microsoft.com/office/powerpoint/2010/main" val="291793867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369979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7452173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pic>
        <p:nvPicPr>
          <p:cNvPr id="6" name="Picture 5">
            <a:extLst>
              <a:ext uri="{FF2B5EF4-FFF2-40B4-BE49-F238E27FC236}">
                <a16:creationId xmlns:a16="http://schemas.microsoft.com/office/drawing/2014/main" id="{9808F21E-2745-405F-80B8-2A437CB3EDE9}"/>
              </a:ext>
            </a:extLst>
          </p:cNvPr>
          <p:cNvPicPr>
            <a:picLocks noChangeAspect="1"/>
          </p:cNvPicPr>
          <p:nvPr userDrawn="1"/>
        </p:nvPicPr>
        <p:blipFill>
          <a:blip r:embed="rId2">
            <a:grayscl/>
            <a:extLst>
              <a:ext uri="{BEBA8EAE-BF5A-486C-A8C5-ECC9F3942E4B}">
                <a14:imgProps xmlns:a14="http://schemas.microsoft.com/office/drawing/2010/main">
                  <a14:imgLayer r:embed="rId3">
                    <a14:imgEffect>
                      <a14:artisticCrisscrossEtching/>
                    </a14:imgEffect>
                  </a14:imgLayer>
                </a14:imgProps>
              </a:ext>
            </a:extLst>
          </a:blip>
          <a:stretch>
            <a:fillRect/>
          </a:stretch>
        </p:blipFill>
        <p:spPr>
          <a:xfrm>
            <a:off x="10526061" y="110185"/>
            <a:ext cx="1515582" cy="283215"/>
          </a:xfrm>
          <a:prstGeom prst="rect">
            <a:avLst/>
          </a:prstGeom>
        </p:spPr>
      </p:pic>
    </p:spTree>
    <p:extLst>
      <p:ext uri="{BB962C8B-B14F-4D97-AF65-F5344CB8AC3E}">
        <p14:creationId xmlns:p14="http://schemas.microsoft.com/office/powerpoint/2010/main" val="1350259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348065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023829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7741203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1195CBEC-67A0-4539-8648-F6EAEC4972E9}"/>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Onboarding</a:t>
            </a:r>
          </a:p>
          <a:p>
            <a:pPr marL="0" indent="0" algn="r">
              <a:spcBef>
                <a:spcPts val="0"/>
              </a:spcBef>
              <a:buSzPct val="100000"/>
              <a:buFont typeface="Arial"/>
              <a:buNone/>
            </a:pPr>
            <a:r>
              <a:rPr lang="en-US" sz="650" noProof="0">
                <a:solidFill>
                  <a:schemeClr val="bg1"/>
                </a:solidFill>
                <a:latin typeface="Verdana (Headings)"/>
              </a:rPr>
              <a:t>June 2021</a:t>
            </a:r>
          </a:p>
        </p:txBody>
      </p:sp>
    </p:spTree>
    <p:extLst>
      <p:ext uri="{BB962C8B-B14F-4D97-AF65-F5344CB8AC3E}">
        <p14:creationId xmlns:p14="http://schemas.microsoft.com/office/powerpoint/2010/main" val="38448878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F44861EA-D30D-41E1-8A58-8ECB531779C6}"/>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Weekly Status Report</a:t>
            </a:r>
          </a:p>
          <a:p>
            <a:pPr marL="0" indent="0" algn="r">
              <a:spcBef>
                <a:spcPts val="0"/>
              </a:spcBef>
              <a:buSzPct val="100000"/>
              <a:buFont typeface="Arial"/>
              <a:buNone/>
            </a:pPr>
            <a:r>
              <a:rPr lang="en-US" sz="650" noProof="0">
                <a:solidFill>
                  <a:schemeClr val="bg1"/>
                </a:solidFill>
              </a:rPr>
              <a:t>20 May 2021</a:t>
            </a:r>
          </a:p>
        </p:txBody>
      </p:sp>
    </p:spTree>
    <p:extLst>
      <p:ext uri="{BB962C8B-B14F-4D97-AF65-F5344CB8AC3E}">
        <p14:creationId xmlns:p14="http://schemas.microsoft.com/office/powerpoint/2010/main" val="69395476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A723E4FA-8CEB-458F-B56D-2E19E67548BF}"/>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Onboarding</a:t>
            </a:r>
          </a:p>
          <a:p>
            <a:pPr marL="0" indent="0" algn="r">
              <a:spcBef>
                <a:spcPts val="0"/>
              </a:spcBef>
              <a:buSzPct val="100000"/>
              <a:buFont typeface="Arial"/>
              <a:buNone/>
            </a:pPr>
            <a:r>
              <a:rPr lang="en-US" sz="650" noProof="0">
                <a:solidFill>
                  <a:schemeClr val="bg1"/>
                </a:solidFill>
                <a:latin typeface="Verdana (Headings)"/>
              </a:rPr>
              <a:t>June 2021</a:t>
            </a:r>
          </a:p>
        </p:txBody>
      </p:sp>
    </p:spTree>
    <p:extLst>
      <p:ext uri="{BB962C8B-B14F-4D97-AF65-F5344CB8AC3E}">
        <p14:creationId xmlns:p14="http://schemas.microsoft.com/office/powerpoint/2010/main" val="125076578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012825"/>
            <a:ext cx="4011084" cy="1287386"/>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1012825"/>
            <a:ext cx="6815667" cy="51133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2386726"/>
            <a:ext cx="4011084" cy="373943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920FA67-A252-974B-A551-44BECC331CC5}" type="datetimeFigureOut">
              <a:rPr lang="en-US" smtClean="0"/>
              <a:pPr/>
              <a:t>1/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27442450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Weekly Status Report</a:t>
            </a:r>
          </a:p>
          <a:p>
            <a:pPr marL="0" indent="0" algn="r">
              <a:spcBef>
                <a:spcPts val="0"/>
              </a:spcBef>
              <a:buSzPct val="100000"/>
              <a:buFont typeface="Arial"/>
              <a:buNone/>
            </a:pPr>
            <a:r>
              <a:rPr lang="en-US" sz="650" noProof="0">
                <a:solidFill>
                  <a:schemeClr val="bg1"/>
                </a:solidFill>
              </a:rPr>
              <a:t>4 February 202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71129804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78543870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1347294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55242120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6826232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33415646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BC224BE2-F841-43AA-9E75-CDACB8CA847A}"/>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Weekly Status Report </a:t>
            </a:r>
          </a:p>
          <a:p>
            <a:pPr marL="0" indent="0" algn="r">
              <a:spcBef>
                <a:spcPts val="0"/>
              </a:spcBef>
              <a:buSzPct val="100000"/>
              <a:buFont typeface="Arial"/>
              <a:buNone/>
            </a:pPr>
            <a:r>
              <a:rPr lang="en-US" sz="650" noProof="0">
                <a:solidFill>
                  <a:schemeClr val="bg1"/>
                </a:solidFill>
                <a:latin typeface="Verdana (Headings)"/>
              </a:rPr>
              <a:t>September 24, 2021</a:t>
            </a:r>
            <a:endParaRPr lang="en-US" sz="650" noProof="0">
              <a:solidFill>
                <a:schemeClr val="bg1"/>
              </a:solidFill>
            </a:endParaRPr>
          </a:p>
        </p:txBody>
      </p:sp>
    </p:spTree>
    <p:extLst>
      <p:ext uri="{BB962C8B-B14F-4D97-AF65-F5344CB8AC3E}">
        <p14:creationId xmlns:p14="http://schemas.microsoft.com/office/powerpoint/2010/main" val="334664736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BEFAC8F9-DF78-4AEA-99C9-B929AE9D73E8}"/>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r>
              <a:rPr lang="en-US" sz="650" noProof="0">
                <a:solidFill>
                  <a:schemeClr val="bg1"/>
                </a:solidFill>
              </a:rPr>
              <a:t>9 June 2021</a:t>
            </a:r>
          </a:p>
        </p:txBody>
      </p:sp>
    </p:spTree>
    <p:extLst>
      <p:ext uri="{BB962C8B-B14F-4D97-AF65-F5344CB8AC3E}">
        <p14:creationId xmlns:p14="http://schemas.microsoft.com/office/powerpoint/2010/main" val="203865428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735C4CBC-FD80-4469-B24B-50006783834E}"/>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Weekly Status Report </a:t>
            </a:r>
          </a:p>
          <a:p>
            <a:pPr marL="0" indent="0" algn="r">
              <a:spcBef>
                <a:spcPts val="0"/>
              </a:spcBef>
              <a:buSzPct val="100000"/>
              <a:buFont typeface="Arial"/>
              <a:buNone/>
            </a:pPr>
            <a:r>
              <a:rPr lang="en-US" sz="650" noProof="0">
                <a:solidFill>
                  <a:schemeClr val="bg1"/>
                </a:solidFill>
                <a:latin typeface="Verdana (Headings)"/>
              </a:rPr>
              <a:t>September 20, 2021</a:t>
            </a:r>
          </a:p>
        </p:txBody>
      </p:sp>
    </p:spTree>
    <p:extLst>
      <p:ext uri="{BB962C8B-B14F-4D97-AF65-F5344CB8AC3E}">
        <p14:creationId xmlns:p14="http://schemas.microsoft.com/office/powerpoint/2010/main" val="344730577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401D23DF-9146-4329-BC70-8164A4039E39}"/>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r>
              <a:rPr lang="en-US" sz="650" noProof="0">
                <a:solidFill>
                  <a:schemeClr val="bg1"/>
                </a:solidFill>
              </a:rPr>
              <a:t>9 June 2021</a:t>
            </a:r>
          </a:p>
        </p:txBody>
      </p:sp>
    </p:spTree>
    <p:extLst>
      <p:ext uri="{BB962C8B-B14F-4D97-AF65-F5344CB8AC3E}">
        <p14:creationId xmlns:p14="http://schemas.microsoft.com/office/powerpoint/2010/main" val="304757012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5365" y="4800600"/>
            <a:ext cx="10977033"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605366" y="1012826"/>
            <a:ext cx="10977033" cy="3787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09600" y="5440971"/>
            <a:ext cx="10972800" cy="47982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920FA67-A252-974B-A551-44BECC331CC5}" type="datetimeFigureOut">
              <a:rPr lang="en-US" smtClean="0"/>
              <a:pPr/>
              <a:t>1/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A801905-C5F5-7943-85B0-6126D52C8FFD}" type="slidenum">
              <a:rPr lang="en-US" smtClean="0"/>
              <a:pPr/>
              <a:t>‹#›</a:t>
            </a:fld>
            <a:endParaRPr lang="en-US"/>
          </a:p>
        </p:txBody>
      </p:sp>
    </p:spTree>
    <p:extLst>
      <p:ext uri="{BB962C8B-B14F-4D97-AF65-F5344CB8AC3E}">
        <p14:creationId xmlns:p14="http://schemas.microsoft.com/office/powerpoint/2010/main" val="1970877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3F46925E-9483-40EE-9A10-3AD30BC8AFFD}"/>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r>
              <a:rPr lang="en-US" sz="650" noProof="0">
                <a:solidFill>
                  <a:schemeClr val="bg1"/>
                </a:solidFill>
              </a:rPr>
              <a:t>9 June 2021</a:t>
            </a:r>
          </a:p>
        </p:txBody>
      </p:sp>
    </p:spTree>
    <p:extLst>
      <p:ext uri="{BB962C8B-B14F-4D97-AF65-F5344CB8AC3E}">
        <p14:creationId xmlns:p14="http://schemas.microsoft.com/office/powerpoint/2010/main" val="409509495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3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2E577B06-6882-4E07-AC2C-223D66A1F1E2}"/>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r>
              <a:rPr lang="en-US" sz="650" noProof="0">
                <a:solidFill>
                  <a:schemeClr val="bg1"/>
                </a:solidFill>
              </a:rPr>
              <a:t>9 June 2021</a:t>
            </a:r>
          </a:p>
        </p:txBody>
      </p:sp>
    </p:spTree>
    <p:extLst>
      <p:ext uri="{BB962C8B-B14F-4D97-AF65-F5344CB8AC3E}">
        <p14:creationId xmlns:p14="http://schemas.microsoft.com/office/powerpoint/2010/main" val="39300121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3_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D57AE907-2FA1-47CA-973B-BF36C99D2AE6}"/>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r>
              <a:rPr lang="en-US" sz="650" noProof="0">
                <a:solidFill>
                  <a:schemeClr val="bg1"/>
                </a:solidFill>
              </a:rPr>
              <a:t>9 June 2021</a:t>
            </a:r>
          </a:p>
        </p:txBody>
      </p:sp>
    </p:spTree>
    <p:extLst>
      <p:ext uri="{BB962C8B-B14F-4D97-AF65-F5344CB8AC3E}">
        <p14:creationId xmlns:p14="http://schemas.microsoft.com/office/powerpoint/2010/main" val="27519760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3_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288F1DA5-AF4D-4AD2-85A6-85B656A934DB}"/>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r>
              <a:rPr lang="en-US" sz="650" noProof="0">
                <a:solidFill>
                  <a:schemeClr val="bg1"/>
                </a:solidFill>
              </a:rPr>
              <a:t>9 June 2021</a:t>
            </a:r>
          </a:p>
        </p:txBody>
      </p:sp>
      <p:pic>
        <p:nvPicPr>
          <p:cNvPr id="7" name="Picture 6">
            <a:extLst>
              <a:ext uri="{FF2B5EF4-FFF2-40B4-BE49-F238E27FC236}">
                <a16:creationId xmlns:a16="http://schemas.microsoft.com/office/drawing/2014/main" id="{4DD6F291-9714-44B5-B109-62A68C9B98FD}"/>
              </a:ext>
            </a:extLst>
          </p:cNvPr>
          <p:cNvPicPr>
            <a:picLocks noChangeAspect="1"/>
          </p:cNvPicPr>
          <p:nvPr userDrawn="1"/>
        </p:nvPicPr>
        <p:blipFill>
          <a:blip r:embed="rId2">
            <a:grayscl/>
            <a:extLst>
              <a:ext uri="{BEBA8EAE-BF5A-486C-A8C5-ECC9F3942E4B}">
                <a14:imgProps xmlns:a14="http://schemas.microsoft.com/office/drawing/2010/main">
                  <a14:imgLayer r:embed="rId3">
                    <a14:imgEffect>
                      <a14:artisticCrisscrossEtching/>
                    </a14:imgEffect>
                  </a14:imgLayer>
                </a14:imgProps>
              </a:ext>
            </a:extLst>
          </a:blip>
          <a:stretch>
            <a:fillRect/>
          </a:stretch>
        </p:blipFill>
        <p:spPr>
          <a:xfrm>
            <a:off x="10526061" y="110185"/>
            <a:ext cx="1515582" cy="283215"/>
          </a:xfrm>
          <a:prstGeom prst="rect">
            <a:avLst/>
          </a:prstGeom>
        </p:spPr>
      </p:pic>
    </p:spTree>
    <p:extLst>
      <p:ext uri="{BB962C8B-B14F-4D97-AF65-F5344CB8AC3E}">
        <p14:creationId xmlns:p14="http://schemas.microsoft.com/office/powerpoint/2010/main" val="2662904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_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6" name="CaseCode">
            <a:extLst>
              <a:ext uri="{FF2B5EF4-FFF2-40B4-BE49-F238E27FC236}">
                <a16:creationId xmlns:a16="http://schemas.microsoft.com/office/drawing/2014/main" id="{6EEFE3D7-6E67-41CB-B62E-701C456970CB}"/>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Core Advisory Group</a:t>
            </a:r>
          </a:p>
          <a:p>
            <a:pPr marL="0" indent="0" algn="r">
              <a:spcBef>
                <a:spcPts val="0"/>
              </a:spcBef>
              <a:buSzPct val="100000"/>
              <a:buFont typeface="Arial"/>
              <a:buNone/>
            </a:pPr>
            <a:r>
              <a:rPr lang="en-US" sz="650" noProof="0">
                <a:solidFill>
                  <a:schemeClr val="bg1"/>
                </a:solidFill>
              </a:rPr>
              <a:t>9 June 2021</a:t>
            </a:r>
          </a:p>
        </p:txBody>
      </p:sp>
    </p:spTree>
    <p:extLst>
      <p:ext uri="{BB962C8B-B14F-4D97-AF65-F5344CB8AC3E}">
        <p14:creationId xmlns:p14="http://schemas.microsoft.com/office/powerpoint/2010/main" val="30020317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8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A0B077FF-0B9D-45F2-BCFB-917E0F2401F4}"/>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Onboarding</a:t>
            </a:r>
          </a:p>
          <a:p>
            <a:pPr marL="0" indent="0" algn="r">
              <a:spcBef>
                <a:spcPts val="0"/>
              </a:spcBef>
              <a:buSzPct val="100000"/>
              <a:buFont typeface="Arial"/>
              <a:buNone/>
            </a:pPr>
            <a:r>
              <a:rPr lang="en-US" sz="650" noProof="0">
                <a:solidFill>
                  <a:schemeClr val="bg1"/>
                </a:solidFill>
                <a:latin typeface="Verdana (Headings)"/>
              </a:rPr>
              <a:t>June 2021</a:t>
            </a:r>
          </a:p>
        </p:txBody>
      </p:sp>
    </p:spTree>
    <p:extLst>
      <p:ext uri="{BB962C8B-B14F-4D97-AF65-F5344CB8AC3E}">
        <p14:creationId xmlns:p14="http://schemas.microsoft.com/office/powerpoint/2010/main" val="295014037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7_Divider - Deloitte green">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9576FCFD-0C9A-44F0-A00E-87155FEE78AF}"/>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Onboarding</a:t>
            </a:r>
          </a:p>
          <a:p>
            <a:pPr marL="0" indent="0" algn="r">
              <a:spcBef>
                <a:spcPts val="0"/>
              </a:spcBef>
              <a:buSzPct val="100000"/>
              <a:buFont typeface="Arial"/>
              <a:buNone/>
            </a:pPr>
            <a:r>
              <a:rPr lang="en-US" sz="650" noProof="0">
                <a:solidFill>
                  <a:schemeClr val="bg1"/>
                </a:solidFill>
                <a:latin typeface="Verdana (Headings)"/>
              </a:rPr>
              <a:t>June 2021</a:t>
            </a:r>
          </a:p>
        </p:txBody>
      </p:sp>
    </p:spTree>
    <p:extLst>
      <p:ext uri="{BB962C8B-B14F-4D97-AF65-F5344CB8AC3E}">
        <p14:creationId xmlns:p14="http://schemas.microsoft.com/office/powerpoint/2010/main" val="233220221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Weekly Status Report</a:t>
            </a:r>
          </a:p>
          <a:p>
            <a:pPr marL="0" indent="0" algn="r">
              <a:spcBef>
                <a:spcPts val="0"/>
              </a:spcBef>
              <a:buSzPct val="100000"/>
              <a:buFont typeface="Arial"/>
              <a:buNone/>
            </a:pPr>
            <a:r>
              <a:rPr lang="en-US" sz="650" noProof="0">
                <a:solidFill>
                  <a:schemeClr val="bg1"/>
                </a:solidFill>
              </a:rPr>
              <a:t>11 February 202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0608742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9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21 Deloitte Development LLC. All rights reserved.</a:t>
            </a:r>
          </a:p>
        </p:txBody>
      </p:sp>
      <p:sp>
        <p:nvSpPr>
          <p:cNvPr id="12" name="TextBox 11">
            <a:extLst>
              <a:ext uri="{FF2B5EF4-FFF2-40B4-BE49-F238E27FC236}">
                <a16:creationId xmlns:a16="http://schemas.microsoft.com/office/drawing/2014/main" id="{95086AC1-F8B5-41B0-84E7-45242A72839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7" name="CaseCode">
            <a:extLst>
              <a:ext uri="{FF2B5EF4-FFF2-40B4-BE49-F238E27FC236}">
                <a16:creationId xmlns:a16="http://schemas.microsoft.com/office/drawing/2014/main" id="{4ADF1EF7-75AE-463F-9A5D-A8E0384E1EB7}"/>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latin typeface="Verdana (Headings)"/>
              </a:rPr>
              <a:t>NETEC NSPS Onboarding</a:t>
            </a:r>
          </a:p>
          <a:p>
            <a:pPr marL="0" indent="0" algn="r">
              <a:spcBef>
                <a:spcPts val="0"/>
              </a:spcBef>
              <a:buSzPct val="100000"/>
              <a:buFont typeface="Arial"/>
              <a:buNone/>
            </a:pPr>
            <a:r>
              <a:rPr lang="en-US" sz="650" noProof="0">
                <a:solidFill>
                  <a:schemeClr val="bg1"/>
                </a:solidFill>
                <a:latin typeface="Verdana (Headings)"/>
              </a:rPr>
              <a:t>June 2021</a:t>
            </a:r>
          </a:p>
        </p:txBody>
      </p:sp>
    </p:spTree>
    <p:extLst>
      <p:ext uri="{BB962C8B-B14F-4D97-AF65-F5344CB8AC3E}">
        <p14:creationId xmlns:p14="http://schemas.microsoft.com/office/powerpoint/2010/main" val="245047075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7" name="CaseCode">
            <a:extLst>
              <a:ext uri="{FF2B5EF4-FFF2-40B4-BE49-F238E27FC236}">
                <a16:creationId xmlns:a16="http://schemas.microsoft.com/office/drawing/2014/main" id="{1CCD1A83-0599-4FCA-A51E-F3E18ABF1C95}"/>
              </a:ext>
            </a:extLst>
          </p:cNvPr>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NETEC NSPS Weekly Status Report</a:t>
            </a:r>
          </a:p>
          <a:p>
            <a:pPr marL="0" indent="0" algn="r">
              <a:spcBef>
                <a:spcPts val="0"/>
              </a:spcBef>
              <a:buSzPct val="100000"/>
              <a:buFont typeface="Arial"/>
              <a:buNone/>
            </a:pPr>
            <a:r>
              <a:rPr lang="en-US" sz="650" noProof="0">
                <a:solidFill>
                  <a:schemeClr val="bg1"/>
                </a:solidFill>
              </a:rPr>
              <a:t>10 June 2021</a:t>
            </a:r>
          </a:p>
        </p:txBody>
      </p:sp>
    </p:spTree>
    <p:extLst>
      <p:ext uri="{BB962C8B-B14F-4D97-AF65-F5344CB8AC3E}">
        <p14:creationId xmlns:p14="http://schemas.microsoft.com/office/powerpoint/2010/main" val="370289750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16" Type="http://schemas.openxmlformats.org/officeDocument/2006/relationships/slideLayout" Target="../slideLayouts/slideLayout27.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102" Type="http://schemas.openxmlformats.org/officeDocument/2006/relationships/theme" Target="../theme/theme2.xml"/><Relationship Id="rId5" Type="http://schemas.openxmlformats.org/officeDocument/2006/relationships/slideLayout" Target="../slideLayouts/slideLayout16.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103" Type="http://schemas.openxmlformats.org/officeDocument/2006/relationships/image" Target="../media/image3.png"/><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microsoft.com/office/2007/relationships/hdphoto" Target="../media/hdphoto1.wdp"/><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3"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017030"/>
            <a:ext cx="10972800" cy="1143000"/>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609600" y="2503301"/>
            <a:ext cx="10972800" cy="35156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098639"/>
            <a:ext cx="2844800" cy="365125"/>
          </a:xfrm>
          <a:prstGeom prst="rect">
            <a:avLst/>
          </a:prstGeom>
        </p:spPr>
        <p:txBody>
          <a:bodyPr vert="horz" lIns="0" tIns="45720" rIns="91440" bIns="45720" rtlCol="0" anchor="ctr"/>
          <a:lstStyle>
            <a:lvl1pPr algn="l">
              <a:defRPr sz="1000">
                <a:solidFill>
                  <a:schemeClr val="accent3"/>
                </a:solidFill>
                <a:latin typeface="Arial"/>
              </a:defRPr>
            </a:lvl1pPr>
          </a:lstStyle>
          <a:p>
            <a:fld id="{1920FA67-A252-974B-A551-44BECC331CC5}" type="datetimeFigureOut">
              <a:rPr lang="en-US" smtClean="0"/>
              <a:pPr/>
              <a:t>1/12/2024</a:t>
            </a:fld>
            <a:endParaRPr lang="en-US"/>
          </a:p>
        </p:txBody>
      </p:sp>
      <p:sp>
        <p:nvSpPr>
          <p:cNvPr id="5" name="Footer Placeholder 4"/>
          <p:cNvSpPr>
            <a:spLocks noGrp="1"/>
          </p:cNvSpPr>
          <p:nvPr>
            <p:ph type="ftr" sz="quarter" idx="3"/>
          </p:nvPr>
        </p:nvSpPr>
        <p:spPr>
          <a:xfrm>
            <a:off x="4165600" y="6098639"/>
            <a:ext cx="3860800" cy="365125"/>
          </a:xfrm>
          <a:prstGeom prst="rect">
            <a:avLst/>
          </a:prstGeom>
        </p:spPr>
        <p:txBody>
          <a:bodyPr vert="horz" lIns="91440" tIns="45720" rIns="91440" bIns="45720" rtlCol="0" anchor="ctr"/>
          <a:lstStyle>
            <a:lvl1pPr algn="ctr">
              <a:defRPr sz="1000">
                <a:solidFill>
                  <a:schemeClr val="accent3"/>
                </a:solidFill>
                <a:latin typeface="Arial"/>
              </a:defRPr>
            </a:lvl1pPr>
          </a:lstStyle>
          <a:p>
            <a:endParaRPr lang="en-US"/>
          </a:p>
        </p:txBody>
      </p:sp>
      <p:sp>
        <p:nvSpPr>
          <p:cNvPr id="6" name="Slide Number Placeholder 5"/>
          <p:cNvSpPr>
            <a:spLocks noGrp="1"/>
          </p:cNvSpPr>
          <p:nvPr>
            <p:ph type="sldNum" sz="quarter" idx="4"/>
          </p:nvPr>
        </p:nvSpPr>
        <p:spPr>
          <a:xfrm>
            <a:off x="8737600" y="6098639"/>
            <a:ext cx="2844800" cy="365125"/>
          </a:xfrm>
          <a:prstGeom prst="rect">
            <a:avLst/>
          </a:prstGeom>
        </p:spPr>
        <p:txBody>
          <a:bodyPr vert="horz" lIns="91440" tIns="45720" rIns="0" bIns="45720" rtlCol="0" anchor="ctr"/>
          <a:lstStyle>
            <a:lvl1pPr algn="r">
              <a:defRPr sz="1000">
                <a:solidFill>
                  <a:schemeClr val="accent3"/>
                </a:solidFill>
                <a:latin typeface="Arial"/>
              </a:defRPr>
            </a:lvl1pPr>
          </a:lstStyle>
          <a:p>
            <a:fld id="{CA801905-C5F5-7943-85B0-6126D52C8FFD}" type="slidenum">
              <a:rPr lang="en-US" smtClean="0"/>
              <a:pPr/>
              <a:t>‹#›</a:t>
            </a:fld>
            <a:endParaRPr lang="en-US"/>
          </a:p>
        </p:txBody>
      </p:sp>
      <p:pic>
        <p:nvPicPr>
          <p:cNvPr id="7" name="Picture 6"/>
          <p:cNvPicPr>
            <a:picLocks noChangeAspect="1"/>
          </p:cNvPicPr>
          <p:nvPr userDrawn="1"/>
        </p:nvPicPr>
        <p:blipFill rotWithShape="1">
          <a:blip r:embed="rId14" cstate="hqprint">
            <a:extLst>
              <a:ext uri="{28A0092B-C50C-407E-A947-70E740481C1C}">
                <a14:useLocalDpi xmlns:a14="http://schemas.microsoft.com/office/drawing/2010/main" val="0"/>
              </a:ext>
            </a:extLst>
          </a:blip>
          <a:srcRect l="37784"/>
          <a:stretch/>
        </p:blipFill>
        <p:spPr>
          <a:xfrm>
            <a:off x="2658738" y="224654"/>
            <a:ext cx="3422573" cy="763333"/>
          </a:xfrm>
          <a:prstGeom prst="rect">
            <a:avLst/>
          </a:prstGeom>
        </p:spPr>
      </p:pic>
    </p:spTree>
    <p:extLst>
      <p:ext uri="{BB962C8B-B14F-4D97-AF65-F5344CB8AC3E}">
        <p14:creationId xmlns:p14="http://schemas.microsoft.com/office/powerpoint/2010/main" val="393947928"/>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Lst>
  <p:txStyles>
    <p:titleStyle>
      <a:lvl1pPr algn="l" defTabSz="457200" rtl="0" eaLnBrk="1" latinLnBrk="0" hangingPunct="1">
        <a:spcBef>
          <a:spcPct val="0"/>
        </a:spcBef>
        <a:buNone/>
        <a:defRPr sz="3500" b="1" i="0" kern="1200">
          <a:solidFill>
            <a:schemeClr val="accent4"/>
          </a:solidFill>
          <a:latin typeface="Arial"/>
          <a:ea typeface="+mj-ea"/>
          <a:cs typeface="+mj-cs"/>
        </a:defRPr>
      </a:lvl1pPr>
    </p:titleStyle>
    <p:bodyStyle>
      <a:lvl1pPr marL="342900" indent="-342900" algn="l" defTabSz="457200" rtl="0" eaLnBrk="1" latinLnBrk="0" hangingPunct="1">
        <a:spcBef>
          <a:spcPct val="20000"/>
        </a:spcBef>
        <a:buClr>
          <a:schemeClr val="accent2"/>
        </a:buClr>
        <a:buSzPct val="125000"/>
        <a:buFont typeface="Wingdings" charset="2"/>
        <a:buChar char="§"/>
        <a:defRPr sz="3200" kern="1200">
          <a:solidFill>
            <a:schemeClr val="bg1"/>
          </a:solidFill>
          <a:latin typeface="Arial"/>
          <a:ea typeface="+mn-ea"/>
          <a:cs typeface="+mn-cs"/>
        </a:defRPr>
      </a:lvl1pPr>
      <a:lvl2pPr marL="742950" indent="-285750" algn="l" defTabSz="457200" rtl="0" eaLnBrk="1" latinLnBrk="0" hangingPunct="1">
        <a:spcBef>
          <a:spcPct val="20000"/>
        </a:spcBef>
        <a:buClr>
          <a:schemeClr val="accent2"/>
        </a:buClr>
        <a:buSzPct val="125000"/>
        <a:buFont typeface="Wingdings" charset="2"/>
        <a:buChar char="§"/>
        <a:defRPr sz="2800" kern="1200">
          <a:solidFill>
            <a:schemeClr val="bg1"/>
          </a:solidFill>
          <a:latin typeface="Arial"/>
          <a:ea typeface="+mn-ea"/>
          <a:cs typeface="+mn-cs"/>
        </a:defRPr>
      </a:lvl2pPr>
      <a:lvl3pPr marL="1143000" indent="-228600" algn="l" defTabSz="457200" rtl="0" eaLnBrk="1" latinLnBrk="0" hangingPunct="1">
        <a:spcBef>
          <a:spcPct val="20000"/>
        </a:spcBef>
        <a:buClr>
          <a:schemeClr val="accent2"/>
        </a:buClr>
        <a:buSzPct val="125000"/>
        <a:buFont typeface="Wingdings" charset="2"/>
        <a:buChar char="§"/>
        <a:defRPr sz="2400" kern="1200">
          <a:solidFill>
            <a:schemeClr val="bg1"/>
          </a:solidFill>
          <a:latin typeface="Arial"/>
          <a:ea typeface="+mn-ea"/>
          <a:cs typeface="+mn-cs"/>
        </a:defRPr>
      </a:lvl3pPr>
      <a:lvl4pPr marL="1600200" indent="-228600" algn="l" defTabSz="457200" rtl="0" eaLnBrk="1" latinLnBrk="0" hangingPunct="1">
        <a:spcBef>
          <a:spcPct val="20000"/>
        </a:spcBef>
        <a:buClr>
          <a:schemeClr val="accent2"/>
        </a:buClr>
        <a:buSzPct val="125000"/>
        <a:buFont typeface="Wingdings" charset="2"/>
        <a:buChar char="§"/>
        <a:defRPr sz="2000" kern="1200">
          <a:solidFill>
            <a:schemeClr val="bg1"/>
          </a:solidFill>
          <a:latin typeface="Arial"/>
          <a:ea typeface="+mn-ea"/>
          <a:cs typeface="+mn-cs"/>
        </a:defRPr>
      </a:lvl4pPr>
      <a:lvl5pPr marL="2057400" indent="-228600" algn="l" defTabSz="457200" rtl="0" eaLnBrk="1" latinLnBrk="0" hangingPunct="1">
        <a:spcBef>
          <a:spcPct val="20000"/>
        </a:spcBef>
        <a:buClr>
          <a:schemeClr val="accent2"/>
        </a:buClr>
        <a:buSzPct val="125000"/>
        <a:buFont typeface="Wingdings" charset="2"/>
        <a:buChar char="§"/>
        <a:defRPr sz="2000" kern="1200">
          <a:solidFill>
            <a:schemeClr val="bg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64F67D4-AF7F-4B56-8480-A4A17A3250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64B89F-F5B5-468D-8B8E-8D35B17E5C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1C09DE-2B5C-4696-AA79-6CB69A46F1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F6D0231B-195B-4941-9F4D-3A96612246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FC31907-BAF6-4EC7-927E-58B0DEA88E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4BF5D-8F9B-407A-AC8F-1C7206B5B534}" type="slidenum">
              <a:rPr lang="en-US" smtClean="0"/>
              <a:t>‹#›</a:t>
            </a:fld>
            <a:endParaRPr lang="en-US"/>
          </a:p>
        </p:txBody>
      </p:sp>
      <p:pic>
        <p:nvPicPr>
          <p:cNvPr id="8" name="Picture 7">
            <a:extLst>
              <a:ext uri="{FF2B5EF4-FFF2-40B4-BE49-F238E27FC236}">
                <a16:creationId xmlns:a16="http://schemas.microsoft.com/office/drawing/2014/main" id="{537E82BC-2888-4B51-B635-18F65654A545}"/>
              </a:ext>
            </a:extLst>
          </p:cNvPr>
          <p:cNvPicPr>
            <a:picLocks noChangeAspect="1"/>
          </p:cNvPicPr>
          <p:nvPr userDrawn="1"/>
        </p:nvPicPr>
        <p:blipFill>
          <a:blip r:embed="rId103">
            <a:biLevel thresh="75000"/>
            <a:extLst>
              <a:ext uri="{BEBA8EAE-BF5A-486C-A8C5-ECC9F3942E4B}">
                <a14:imgProps xmlns:a14="http://schemas.microsoft.com/office/drawing/2010/main">
                  <a14:imgLayer r:embed="rId104">
                    <a14:imgEffect>
                      <a14:artisticCrisscrossEtching/>
                    </a14:imgEffect>
                  </a14:imgLayer>
                </a14:imgProps>
              </a:ext>
            </a:extLst>
          </a:blip>
          <a:stretch>
            <a:fillRect/>
          </a:stretch>
        </p:blipFill>
        <p:spPr>
          <a:xfrm>
            <a:off x="10526061" y="110185"/>
            <a:ext cx="1515582" cy="283215"/>
          </a:xfrm>
          <a:prstGeom prst="rect">
            <a:avLst/>
          </a:prstGeom>
        </p:spPr>
      </p:pic>
    </p:spTree>
    <p:extLst>
      <p:ext uri="{BB962C8B-B14F-4D97-AF65-F5344CB8AC3E}">
        <p14:creationId xmlns:p14="http://schemas.microsoft.com/office/powerpoint/2010/main" val="3254737585"/>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 id="2147484052" r:id="rId35"/>
    <p:sldLayoutId id="2147484053" r:id="rId36"/>
    <p:sldLayoutId id="2147484054" r:id="rId37"/>
    <p:sldLayoutId id="2147484055" r:id="rId38"/>
    <p:sldLayoutId id="2147484056" r:id="rId39"/>
    <p:sldLayoutId id="2147484057" r:id="rId40"/>
    <p:sldLayoutId id="2147484058" r:id="rId41"/>
    <p:sldLayoutId id="2147484059" r:id="rId42"/>
    <p:sldLayoutId id="2147484060" r:id="rId43"/>
    <p:sldLayoutId id="2147484061" r:id="rId44"/>
    <p:sldLayoutId id="2147484062" r:id="rId45"/>
    <p:sldLayoutId id="2147484063" r:id="rId46"/>
    <p:sldLayoutId id="2147484064" r:id="rId47"/>
    <p:sldLayoutId id="2147484065" r:id="rId48"/>
    <p:sldLayoutId id="2147484066" r:id="rId49"/>
    <p:sldLayoutId id="2147484067" r:id="rId50"/>
    <p:sldLayoutId id="2147484068" r:id="rId51"/>
    <p:sldLayoutId id="2147484069" r:id="rId52"/>
    <p:sldLayoutId id="2147484070" r:id="rId53"/>
    <p:sldLayoutId id="2147484071" r:id="rId54"/>
    <p:sldLayoutId id="2147484072" r:id="rId55"/>
    <p:sldLayoutId id="2147484073" r:id="rId56"/>
    <p:sldLayoutId id="2147484074" r:id="rId57"/>
    <p:sldLayoutId id="2147484075" r:id="rId58"/>
    <p:sldLayoutId id="2147484076" r:id="rId59"/>
    <p:sldLayoutId id="2147484077" r:id="rId60"/>
    <p:sldLayoutId id="2147484078" r:id="rId61"/>
    <p:sldLayoutId id="2147484079" r:id="rId62"/>
    <p:sldLayoutId id="2147484080" r:id="rId63"/>
    <p:sldLayoutId id="2147484081" r:id="rId64"/>
    <p:sldLayoutId id="2147484082" r:id="rId65"/>
    <p:sldLayoutId id="2147484083" r:id="rId66"/>
    <p:sldLayoutId id="2147484084" r:id="rId67"/>
    <p:sldLayoutId id="2147484085" r:id="rId68"/>
    <p:sldLayoutId id="2147484086" r:id="rId69"/>
    <p:sldLayoutId id="2147484087" r:id="rId70"/>
    <p:sldLayoutId id="2147484088" r:id="rId71"/>
    <p:sldLayoutId id="2147484089" r:id="rId72"/>
    <p:sldLayoutId id="2147484090" r:id="rId73"/>
    <p:sldLayoutId id="2147484091" r:id="rId74"/>
    <p:sldLayoutId id="2147484092" r:id="rId75"/>
    <p:sldLayoutId id="2147484093" r:id="rId76"/>
    <p:sldLayoutId id="2147484094" r:id="rId77"/>
    <p:sldLayoutId id="2147484095" r:id="rId78"/>
    <p:sldLayoutId id="2147484096" r:id="rId79"/>
    <p:sldLayoutId id="2147484097" r:id="rId80"/>
    <p:sldLayoutId id="2147484098" r:id="rId81"/>
    <p:sldLayoutId id="2147484099" r:id="rId82"/>
    <p:sldLayoutId id="2147484100" r:id="rId83"/>
    <p:sldLayoutId id="2147484101" r:id="rId84"/>
    <p:sldLayoutId id="2147484102" r:id="rId85"/>
    <p:sldLayoutId id="2147484103" r:id="rId86"/>
    <p:sldLayoutId id="2147484104" r:id="rId87"/>
    <p:sldLayoutId id="2147484105" r:id="rId88"/>
    <p:sldLayoutId id="2147484106" r:id="rId89"/>
    <p:sldLayoutId id="2147484107" r:id="rId90"/>
    <p:sldLayoutId id="2147484108" r:id="rId91"/>
    <p:sldLayoutId id="2147484109" r:id="rId92"/>
    <p:sldLayoutId id="2147484110" r:id="rId93"/>
    <p:sldLayoutId id="2147484111" r:id="rId94"/>
    <p:sldLayoutId id="2147484525" r:id="rId95"/>
    <p:sldLayoutId id="2147484559" r:id="rId96"/>
    <p:sldLayoutId id="2147484579" r:id="rId97"/>
    <p:sldLayoutId id="2147483661" r:id="rId98"/>
    <p:sldLayoutId id="2147483781" r:id="rId99"/>
    <p:sldLayoutId id="2147483854" r:id="rId100"/>
    <p:sldLayoutId id="2147483847" r:id="rId10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Layout" Target="../slideLayouts/slideLayout18.xml"/><Relationship Id="rId5" Type="http://schemas.openxmlformats.org/officeDocument/2006/relationships/image" Target="../media/image15.svg"/><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hyperlink" Target="https://emergency.cdc.gov/han/2023/han00501.asp" TargetMode="External"/><Relationship Id="rId2" Type="http://schemas.openxmlformats.org/officeDocument/2006/relationships/notesSlide" Target="../notesSlides/notesSlide9.xml"/><Relationship Id="rId1" Type="http://schemas.openxmlformats.org/officeDocument/2006/relationships/slideLayout" Target="../slideLayouts/slideLayout54.xml"/><Relationship Id="rId4" Type="http://schemas.openxmlformats.org/officeDocument/2006/relationships/hyperlink" Target="https://www.cdc.gov/poxvirus/mpox/clinicians/infection-control-healthcare.html#anchor_1653508926176"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6.png"/><Relationship Id="rId7"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4.xml"/><Relationship Id="rId6" Type="http://schemas.openxmlformats.org/officeDocument/2006/relationships/hyperlink" Target="https://www.jointcommission.org/-/media/tjc/documents/standards/prepublications/2024/hap_ic_changes_prepublication_july2024.pdf" TargetMode="External"/><Relationship Id="rId5" Type="http://schemas.openxmlformats.org/officeDocument/2006/relationships/hyperlink" Target="http://www.r2resptc.org/" TargetMode="External"/><Relationship Id="rId4" Type="http://schemas.openxmlformats.org/officeDocument/2006/relationships/hyperlink" Target="https://repository.netecweb.org/exhibits/show/mpox/mpox"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nyc.gov/assets/doh/downloads/pdf/han/advisory/2023/han-advisory-25.pdf" TargetMode="External"/><Relationship Id="rId2" Type="http://schemas.openxmlformats.org/officeDocument/2006/relationships/notesSlide" Target="../notesSlides/notesSlide11.xml"/><Relationship Id="rId1" Type="http://schemas.openxmlformats.org/officeDocument/2006/relationships/slideLayout" Target="../slideLayouts/slideLayout54.xml"/><Relationship Id="rId6" Type="http://schemas.openxmlformats.org/officeDocument/2006/relationships/hyperlink" Target="https://doh.vi.gov/programs/communicable-diseases/monkeypox/" TargetMode="External"/><Relationship Id="rId5" Type="http://schemas.openxmlformats.org/officeDocument/2006/relationships/hyperlink" Target="https://www.salud.pr.gov/CMS/379" TargetMode="External"/><Relationship Id="rId4" Type="http://schemas.openxmlformats.org/officeDocument/2006/relationships/hyperlink" Target="https://www.r2resptc.org/docs/LINCS_HAN_Mpox_12_7_202320230712.pdf"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Layout" Target="../slideLayouts/slideLayout18.xml"/><Relationship Id="rId5" Type="http://schemas.openxmlformats.org/officeDocument/2006/relationships/image" Target="../media/image15.sv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2" Type="http://schemas.openxmlformats.org/officeDocument/2006/relationships/hyperlink" Target="http://www.r2resptc.org/" TargetMode="Externa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hyperlink" Target="https://www.r2resptc.org/" TargetMode="External"/><Relationship Id="rId7"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54.xml"/><Relationship Id="rId6" Type="http://schemas.openxmlformats.org/officeDocument/2006/relationships/image" Target="../media/image19.png"/><Relationship Id="rId5" Type="http://schemas.openxmlformats.org/officeDocument/2006/relationships/hyperlink" Target="https://www.r2resptc.org/contact.php" TargetMode="External"/><Relationship Id="rId4" Type="http://schemas.openxmlformats.org/officeDocument/2006/relationships/hyperlink" Target="https://www.r2resptc.org/about.php"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r2resptc.org/" TargetMode="External"/><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54.xml"/><Relationship Id="rId6" Type="http://schemas.openxmlformats.org/officeDocument/2006/relationships/image" Target="../media/image21.png"/><Relationship Id="rId5" Type="http://schemas.openxmlformats.org/officeDocument/2006/relationships/hyperlink" Target="https://www.r2resptc.org/news.php" TargetMode="External"/><Relationship Id="rId4" Type="http://schemas.openxmlformats.org/officeDocument/2006/relationships/hyperlink" Target="https://www.r2resptc.org/tools.php"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Layout" Target="../slideLayouts/slideLayout18.xml"/><Relationship Id="rId5" Type="http://schemas.openxmlformats.org/officeDocument/2006/relationships/image" Target="../media/image15.svg"/><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hyperlink" Target="https://www.cdc.gov/quarantine/air/managing-sick-travelers/airline-recommendations.html" TargetMode="External"/><Relationship Id="rId2" Type="http://schemas.openxmlformats.org/officeDocument/2006/relationships/notesSlide" Target="../notesSlides/notesSlide3.xml"/><Relationship Id="rId1" Type="http://schemas.openxmlformats.org/officeDocument/2006/relationships/slideLayout" Target="../slideLayouts/slideLayout54.xml"/><Relationship Id="rId4" Type="http://schemas.openxmlformats.org/officeDocument/2006/relationships/hyperlink" Target="https://www.cdc.gov/measles/resources/index.html"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hyperlink" Target="http://www.nyc.gov/health/measles" TargetMode="External"/><Relationship Id="rId2" Type="http://schemas.openxmlformats.org/officeDocument/2006/relationships/notesSlide" Target="../notesSlides/notesSlide5.xml"/><Relationship Id="rId1" Type="http://schemas.openxmlformats.org/officeDocument/2006/relationships/slideLayout" Target="../slideLayouts/slideLayout54.xml"/><Relationship Id="rId4" Type="http://schemas.openxmlformats.org/officeDocument/2006/relationships/hyperlink" Target="http://www.nyc.gov/health"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nyc.gov/site/doh/services/tuberculosis-chest-centers.page" TargetMode="External"/><Relationship Id="rId2" Type="http://schemas.openxmlformats.org/officeDocument/2006/relationships/notesSlide" Target="../notesSlides/notesSlide6.xml"/><Relationship Id="rId1" Type="http://schemas.openxmlformats.org/officeDocument/2006/relationships/slideLayout" Target="../slideLayouts/slideLayout54.xml"/><Relationship Id="rId5" Type="http://schemas.openxmlformats.org/officeDocument/2006/relationships/hyperlink" Target="https://www.nyc.gov/site/doh/health/health-topics/tuberculosis.page" TargetMode="External"/><Relationship Id="rId4" Type="http://schemas.openxmlformats.org/officeDocument/2006/relationships/hyperlink" Target="https://www.cdc.gov/tb/education/professional-resources.htm"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AA8C08-6D6C-47B2-8D11-6C4BC1726A7C}"/>
              </a:ext>
            </a:extLst>
          </p:cNvPr>
          <p:cNvSpPr/>
          <p:nvPr/>
        </p:nvSpPr>
        <p:spPr>
          <a:xfrm>
            <a:off x="5296123" y="0"/>
            <a:ext cx="7075897" cy="6858000"/>
          </a:xfrm>
          <a:prstGeom prst="rect">
            <a:avLst/>
          </a:prstGeom>
          <a:solidFill>
            <a:srgbClr val="21418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3">
            <a:extLst>
              <a:ext uri="{FF2B5EF4-FFF2-40B4-BE49-F238E27FC236}">
                <a16:creationId xmlns:a16="http://schemas.microsoft.com/office/drawing/2014/main" id="{AADD7C45-509A-4A7D-BAFA-5E5B3166312F}"/>
              </a:ext>
            </a:extLst>
          </p:cNvPr>
          <p:cNvSpPr txBox="1">
            <a:spLocks/>
          </p:cNvSpPr>
          <p:nvPr/>
        </p:nvSpPr>
        <p:spPr>
          <a:xfrm>
            <a:off x="243355" y="1127524"/>
            <a:ext cx="4343415" cy="1151868"/>
          </a:xfrm>
          <a:prstGeom prst="rect">
            <a:avLst/>
          </a:prstGeom>
        </p:spPr>
        <p:txBody>
          <a:bodyPr vert="horz" lIns="0" tIns="45720" rIns="91440" bIns="0" rtlCol="0" anchor="b"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800" b="1" i="0" u="none" strike="noStrike" kern="1200" cap="none" spc="-100" normalizeH="0" baseline="0" noProof="0">
                <a:ln>
                  <a:noFill/>
                </a:ln>
                <a:solidFill>
                  <a:srgbClr val="21418A"/>
                </a:solidFill>
                <a:effectLst/>
                <a:uLnTx/>
                <a:uFillTx/>
                <a:latin typeface="Arial" panose="020B0604020202020204" pitchFamily="34" charset="0"/>
                <a:cs typeface="Arial" panose="020B0604020202020204" pitchFamily="34" charset="0"/>
              </a:rPr>
              <a:t>National Special Pathogen System (NSPS) Region 2 </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800" b="1" i="0" u="none" strike="noStrike" kern="1200" cap="none" spc="-100" normalizeH="0" baseline="0" noProof="0">
                <a:ln>
                  <a:noFill/>
                </a:ln>
                <a:solidFill>
                  <a:srgbClr val="21418A"/>
                </a:solidFill>
                <a:effectLst/>
                <a:uLnTx/>
                <a:uFillTx/>
                <a:latin typeface="Arial" panose="020B0604020202020204" pitchFamily="34" charset="0"/>
                <a:cs typeface="Arial" panose="020B0604020202020204" pitchFamily="34" charset="0"/>
              </a:rPr>
              <a:t>Partner Community</a:t>
            </a:r>
          </a:p>
        </p:txBody>
      </p:sp>
      <p:sp>
        <p:nvSpPr>
          <p:cNvPr id="4" name="Title 3">
            <a:extLst>
              <a:ext uri="{FF2B5EF4-FFF2-40B4-BE49-F238E27FC236}">
                <a16:creationId xmlns:a16="http://schemas.microsoft.com/office/drawing/2014/main" id="{FDD404E2-CC8D-4600-A159-7D553546ACF7}"/>
              </a:ext>
            </a:extLst>
          </p:cNvPr>
          <p:cNvSpPr txBox="1">
            <a:spLocks/>
          </p:cNvSpPr>
          <p:nvPr/>
        </p:nvSpPr>
        <p:spPr>
          <a:xfrm>
            <a:off x="243356" y="2105885"/>
            <a:ext cx="4407673" cy="393879"/>
          </a:xfrm>
          <a:prstGeom prst="rect">
            <a:avLst/>
          </a:prstGeom>
        </p:spPr>
        <p:txBody>
          <a:bodyPr vert="horz" lIns="0" tIns="45720" rIns="91440" bIns="0" rtlCol="0" anchor="b"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US" sz="1400">
                <a:solidFill>
                  <a:schemeClr val="accent2"/>
                </a:solidFill>
                <a:latin typeface="Arial" panose="020B0604020202020204" pitchFamily="34" charset="0"/>
                <a:cs typeface="Arial" panose="020B0604020202020204" pitchFamily="34" charset="0"/>
              </a:rPr>
              <a:t>JANUARY 5, 2024</a:t>
            </a:r>
            <a:endParaRPr kumimoji="0" lang="en-US" sz="1400" i="0" u="none" strike="noStrike" kern="1200" cap="none" spc="-100" normalizeH="0" baseline="0" noProof="0">
              <a:ln>
                <a:noFill/>
              </a:ln>
              <a:solidFill>
                <a:schemeClr val="accent2"/>
              </a:solidFill>
              <a:effectLst/>
              <a:uLnTx/>
              <a:uFillTx/>
              <a:latin typeface="Arial" panose="020B0604020202020204" pitchFamily="34" charset="0"/>
              <a:cs typeface="Arial" panose="020B0604020202020204" pitchFamily="34" charset="0"/>
            </a:endParaRPr>
          </a:p>
        </p:txBody>
      </p:sp>
      <p:grpSp>
        <p:nvGrpSpPr>
          <p:cNvPr id="37" name="Group 36">
            <a:extLst>
              <a:ext uri="{FF2B5EF4-FFF2-40B4-BE49-F238E27FC236}">
                <a16:creationId xmlns:a16="http://schemas.microsoft.com/office/drawing/2014/main" id="{ADAC7F82-1D82-472E-AD81-61F9CF39B1BE}"/>
              </a:ext>
            </a:extLst>
          </p:cNvPr>
          <p:cNvGrpSpPr/>
          <p:nvPr/>
        </p:nvGrpSpPr>
        <p:grpSpPr>
          <a:xfrm>
            <a:off x="6625424" y="1514626"/>
            <a:ext cx="4727905" cy="3611034"/>
            <a:chOff x="821458" y="2056119"/>
            <a:chExt cx="4727905" cy="3611034"/>
          </a:xfrm>
          <a:solidFill>
            <a:schemeClr val="bg1"/>
          </a:solidFill>
        </p:grpSpPr>
        <p:grpSp>
          <p:nvGrpSpPr>
            <p:cNvPr id="38" name="Group 37">
              <a:extLst>
                <a:ext uri="{FF2B5EF4-FFF2-40B4-BE49-F238E27FC236}">
                  <a16:creationId xmlns:a16="http://schemas.microsoft.com/office/drawing/2014/main" id="{ECFC6D81-A68E-43AA-9AEF-AAE9B59A2246}"/>
                </a:ext>
              </a:extLst>
            </p:cNvPr>
            <p:cNvGrpSpPr>
              <a:grpSpLocks noChangeAspect="1"/>
            </p:cNvGrpSpPr>
            <p:nvPr/>
          </p:nvGrpSpPr>
          <p:grpSpPr>
            <a:xfrm>
              <a:off x="821458" y="2056119"/>
              <a:ext cx="4727905" cy="3611034"/>
              <a:chOff x="1145309" y="2056120"/>
              <a:chExt cx="2612137" cy="1995073"/>
            </a:xfrm>
            <a:grpFill/>
          </p:grpSpPr>
          <p:grpSp>
            <p:nvGrpSpPr>
              <p:cNvPr id="40" name="Group 39">
                <a:extLst>
                  <a:ext uri="{FF2B5EF4-FFF2-40B4-BE49-F238E27FC236}">
                    <a16:creationId xmlns:a16="http://schemas.microsoft.com/office/drawing/2014/main" id="{836E8F74-BD4E-4D71-9A08-01A0D94EE766}"/>
                  </a:ext>
                </a:extLst>
              </p:cNvPr>
              <p:cNvGrpSpPr/>
              <p:nvPr/>
            </p:nvGrpSpPr>
            <p:grpSpPr>
              <a:xfrm>
                <a:off x="1145309" y="2056120"/>
                <a:ext cx="2612137" cy="1995073"/>
                <a:chOff x="1145309" y="2056120"/>
                <a:chExt cx="2612137" cy="1995073"/>
              </a:xfrm>
              <a:grpFill/>
            </p:grpSpPr>
            <p:grpSp>
              <p:nvGrpSpPr>
                <p:cNvPr id="43" name="Group 42">
                  <a:extLst>
                    <a:ext uri="{FF2B5EF4-FFF2-40B4-BE49-F238E27FC236}">
                      <a16:creationId xmlns:a16="http://schemas.microsoft.com/office/drawing/2014/main" id="{6D1FD5C8-337C-41DC-9289-D42A916E6F4E}"/>
                    </a:ext>
                  </a:extLst>
                </p:cNvPr>
                <p:cNvGrpSpPr/>
                <p:nvPr/>
              </p:nvGrpSpPr>
              <p:grpSpPr>
                <a:xfrm>
                  <a:off x="1145309" y="2056120"/>
                  <a:ext cx="1716464" cy="1995073"/>
                  <a:chOff x="5474028" y="2618585"/>
                  <a:chExt cx="666654" cy="752705"/>
                </a:xfrm>
                <a:grpFill/>
              </p:grpSpPr>
              <p:sp>
                <p:nvSpPr>
                  <p:cNvPr id="49" name="Freeform 41">
                    <a:extLst>
                      <a:ext uri="{FF2B5EF4-FFF2-40B4-BE49-F238E27FC236}">
                        <a16:creationId xmlns:a16="http://schemas.microsoft.com/office/drawing/2014/main" id="{4BAA7AF1-52A5-41C5-888E-63469CF85B7D}"/>
                      </a:ext>
                    </a:extLst>
                  </p:cNvPr>
                  <p:cNvSpPr>
                    <a:spLocks/>
                  </p:cNvSpPr>
                  <p:nvPr/>
                </p:nvSpPr>
                <p:spPr bwMode="gray">
                  <a:xfrm>
                    <a:off x="5965489" y="3076157"/>
                    <a:ext cx="159591" cy="295133"/>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solidFill>
                    <a:schemeClr val="accent2"/>
                  </a:solidFill>
                  <a:ln w="8890">
                    <a:solidFill>
                      <a:schemeClr val="bg1"/>
                    </a:solidFill>
                    <a:round/>
                    <a:headEnd/>
                    <a:tailEnd/>
                  </a:ln>
                </p:spPr>
                <p:txBody>
                  <a:bodyPr/>
                  <a:lstStyle/>
                  <a:p>
                    <a:pPr defTabSz="914377">
                      <a:defRPr/>
                    </a:pPr>
                    <a:endParaRPr lang="en-US" sz="1600" kern="0">
                      <a:solidFill>
                        <a:srgbClr val="21418A"/>
                      </a:solidFill>
                      <a:latin typeface="Verdana" panose="020B0604030504040204" pitchFamily="34" charset="0"/>
                      <a:ea typeface="Verdana" panose="020B0604030504040204" pitchFamily="34" charset="0"/>
                    </a:endParaRPr>
                  </a:p>
                </p:txBody>
              </p:sp>
              <p:sp>
                <p:nvSpPr>
                  <p:cNvPr id="50" name="Freeform 53">
                    <a:extLst>
                      <a:ext uri="{FF2B5EF4-FFF2-40B4-BE49-F238E27FC236}">
                        <a16:creationId xmlns:a16="http://schemas.microsoft.com/office/drawing/2014/main" id="{47DAE280-F4B7-478B-A8F6-A7FC2F0848B7}"/>
                      </a:ext>
                    </a:extLst>
                  </p:cNvPr>
                  <p:cNvSpPr>
                    <a:spLocks/>
                  </p:cNvSpPr>
                  <p:nvPr/>
                </p:nvSpPr>
                <p:spPr bwMode="gray">
                  <a:xfrm>
                    <a:off x="5474028" y="2618585"/>
                    <a:ext cx="666654" cy="505609"/>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solidFill>
                    <a:schemeClr val="accent2"/>
                  </a:solidFill>
                  <a:ln w="8890">
                    <a:solidFill>
                      <a:schemeClr val="bg1"/>
                    </a:solidFill>
                    <a:round/>
                    <a:headEnd/>
                    <a:tailEnd/>
                  </a:ln>
                </p:spPr>
                <p:txBody>
                  <a:bodyPr/>
                  <a:lstStyle/>
                  <a:p>
                    <a:pPr defTabSz="914377">
                      <a:defRPr/>
                    </a:pPr>
                    <a:endParaRPr lang="en-US" sz="1600" kern="0">
                      <a:solidFill>
                        <a:srgbClr val="21418A"/>
                      </a:solidFill>
                      <a:latin typeface="Verdana" panose="020B0604030504040204" pitchFamily="34" charset="0"/>
                      <a:ea typeface="Verdana" panose="020B0604030504040204" pitchFamily="34" charset="0"/>
                    </a:endParaRPr>
                  </a:p>
                </p:txBody>
              </p:sp>
            </p:grpSp>
            <p:sp>
              <p:nvSpPr>
                <p:cNvPr id="44" name="Freeform: Shape 43">
                  <a:extLst>
                    <a:ext uri="{FF2B5EF4-FFF2-40B4-BE49-F238E27FC236}">
                      <a16:creationId xmlns:a16="http://schemas.microsoft.com/office/drawing/2014/main" id="{09E9025F-C7EF-49A4-9A26-837C2CED6FC1}"/>
                    </a:ext>
                  </a:extLst>
                </p:cNvPr>
                <p:cNvSpPr>
                  <a:spLocks noChangeAspect="1"/>
                </p:cNvSpPr>
                <p:nvPr/>
              </p:nvSpPr>
              <p:spPr>
                <a:xfrm>
                  <a:off x="3147459" y="2852078"/>
                  <a:ext cx="517166" cy="193565"/>
                </a:xfrm>
                <a:custGeom>
                  <a:avLst/>
                  <a:gdLst>
                    <a:gd name="connsiteX0" fmla="*/ 461818 w 4812146"/>
                    <a:gd name="connsiteY0" fmla="*/ 0 h 1801091"/>
                    <a:gd name="connsiteX1" fmla="*/ 720437 w 4812146"/>
                    <a:gd name="connsiteY1" fmla="*/ 64654 h 1801091"/>
                    <a:gd name="connsiteX2" fmla="*/ 914400 w 4812146"/>
                    <a:gd name="connsiteY2" fmla="*/ 110836 h 1801091"/>
                    <a:gd name="connsiteX3" fmla="*/ 3121891 w 4812146"/>
                    <a:gd name="connsiteY3" fmla="*/ 147782 h 1801091"/>
                    <a:gd name="connsiteX4" fmla="*/ 3408218 w 4812146"/>
                    <a:gd name="connsiteY4" fmla="*/ 286327 h 1801091"/>
                    <a:gd name="connsiteX5" fmla="*/ 3417455 w 4812146"/>
                    <a:gd name="connsiteY5" fmla="*/ 166254 h 1801091"/>
                    <a:gd name="connsiteX6" fmla="*/ 4193309 w 4812146"/>
                    <a:gd name="connsiteY6" fmla="*/ 277091 h 1801091"/>
                    <a:gd name="connsiteX7" fmla="*/ 4608946 w 4812146"/>
                    <a:gd name="connsiteY7" fmla="*/ 443345 h 1801091"/>
                    <a:gd name="connsiteX8" fmla="*/ 4765964 w 4812146"/>
                    <a:gd name="connsiteY8" fmla="*/ 387927 h 1801091"/>
                    <a:gd name="connsiteX9" fmla="*/ 4802742 w 4812146"/>
                    <a:gd name="connsiteY9" fmla="*/ 785124 h 1801091"/>
                    <a:gd name="connsiteX10" fmla="*/ 4802909 w 4812146"/>
                    <a:gd name="connsiteY10" fmla="*/ 785091 h 1801091"/>
                    <a:gd name="connsiteX11" fmla="*/ 4802808 w 4812146"/>
                    <a:gd name="connsiteY11" fmla="*/ 785836 h 1801091"/>
                    <a:gd name="connsiteX12" fmla="*/ 4812146 w 4812146"/>
                    <a:gd name="connsiteY12" fmla="*/ 886691 h 1801091"/>
                    <a:gd name="connsiteX13" fmla="*/ 4788472 w 4812146"/>
                    <a:gd name="connsiteY13" fmla="*/ 890966 h 1801091"/>
                    <a:gd name="connsiteX14" fmla="*/ 4775200 w 4812146"/>
                    <a:gd name="connsiteY14" fmla="*/ 988291 h 1801091"/>
                    <a:gd name="connsiteX15" fmla="*/ 4396509 w 4812146"/>
                    <a:gd name="connsiteY15" fmla="*/ 1034473 h 1801091"/>
                    <a:gd name="connsiteX16" fmla="*/ 4137891 w 4812146"/>
                    <a:gd name="connsiteY16" fmla="*/ 1570182 h 1801091"/>
                    <a:gd name="connsiteX17" fmla="*/ 3084946 w 4812146"/>
                    <a:gd name="connsiteY17" fmla="*/ 1782618 h 1801091"/>
                    <a:gd name="connsiteX18" fmla="*/ 2660073 w 4812146"/>
                    <a:gd name="connsiteY18" fmla="*/ 1736436 h 1801091"/>
                    <a:gd name="connsiteX19" fmla="*/ 2540000 w 4812146"/>
                    <a:gd name="connsiteY19" fmla="*/ 1801091 h 1801091"/>
                    <a:gd name="connsiteX20" fmla="*/ 2401455 w 4812146"/>
                    <a:gd name="connsiteY20" fmla="*/ 1681018 h 1801091"/>
                    <a:gd name="connsiteX21" fmla="*/ 1671782 w 4812146"/>
                    <a:gd name="connsiteY21" fmla="*/ 1662545 h 1801091"/>
                    <a:gd name="connsiteX22" fmla="*/ 1533237 w 4812146"/>
                    <a:gd name="connsiteY22" fmla="*/ 1607127 h 1801091"/>
                    <a:gd name="connsiteX23" fmla="*/ 1394691 w 4812146"/>
                    <a:gd name="connsiteY23" fmla="*/ 1607127 h 1801091"/>
                    <a:gd name="connsiteX24" fmla="*/ 1357746 w 4812146"/>
                    <a:gd name="connsiteY24" fmla="*/ 1699491 h 1801091"/>
                    <a:gd name="connsiteX25" fmla="*/ 175491 w 4812146"/>
                    <a:gd name="connsiteY25" fmla="*/ 1727200 h 1801091"/>
                    <a:gd name="connsiteX26" fmla="*/ 179562 w 4812146"/>
                    <a:gd name="connsiteY26" fmla="*/ 1723130 h 1801091"/>
                    <a:gd name="connsiteX27" fmla="*/ 157018 w 4812146"/>
                    <a:gd name="connsiteY27" fmla="*/ 1727200 h 1801091"/>
                    <a:gd name="connsiteX28" fmla="*/ 314037 w 4812146"/>
                    <a:gd name="connsiteY28" fmla="*/ 997527 h 1801091"/>
                    <a:gd name="connsiteX29" fmla="*/ 0 w 4812146"/>
                    <a:gd name="connsiteY29" fmla="*/ 517236 h 1801091"/>
                    <a:gd name="connsiteX30" fmla="*/ 295564 w 4812146"/>
                    <a:gd name="connsiteY30" fmla="*/ 323273 h 1801091"/>
                    <a:gd name="connsiteX31" fmla="*/ 304800 w 4812146"/>
                    <a:gd name="connsiteY31" fmla="*/ 101600 h 180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12146" h="1801091">
                      <a:moveTo>
                        <a:pt x="461818" y="0"/>
                      </a:moveTo>
                      <a:lnTo>
                        <a:pt x="720437" y="64654"/>
                      </a:lnTo>
                      <a:lnTo>
                        <a:pt x="914400" y="110836"/>
                      </a:lnTo>
                      <a:lnTo>
                        <a:pt x="3121891" y="147782"/>
                      </a:lnTo>
                      <a:lnTo>
                        <a:pt x="3408218" y="286327"/>
                      </a:lnTo>
                      <a:lnTo>
                        <a:pt x="3417455" y="166254"/>
                      </a:lnTo>
                      <a:lnTo>
                        <a:pt x="4193309" y="277091"/>
                      </a:lnTo>
                      <a:lnTo>
                        <a:pt x="4608946" y="443345"/>
                      </a:lnTo>
                      <a:lnTo>
                        <a:pt x="4765964" y="387927"/>
                      </a:lnTo>
                      <a:lnTo>
                        <a:pt x="4802742" y="785124"/>
                      </a:lnTo>
                      <a:lnTo>
                        <a:pt x="4802909" y="785091"/>
                      </a:lnTo>
                      <a:lnTo>
                        <a:pt x="4802808" y="785836"/>
                      </a:lnTo>
                      <a:lnTo>
                        <a:pt x="4812146" y="886691"/>
                      </a:lnTo>
                      <a:lnTo>
                        <a:pt x="4788472" y="890966"/>
                      </a:lnTo>
                      <a:lnTo>
                        <a:pt x="4775200" y="988291"/>
                      </a:lnTo>
                      <a:lnTo>
                        <a:pt x="4396509" y="1034473"/>
                      </a:lnTo>
                      <a:lnTo>
                        <a:pt x="4137891" y="1570182"/>
                      </a:lnTo>
                      <a:lnTo>
                        <a:pt x="3084946" y="1782618"/>
                      </a:lnTo>
                      <a:lnTo>
                        <a:pt x="2660073" y="1736436"/>
                      </a:lnTo>
                      <a:lnTo>
                        <a:pt x="2540000" y="1801091"/>
                      </a:lnTo>
                      <a:lnTo>
                        <a:pt x="2401455" y="1681018"/>
                      </a:lnTo>
                      <a:lnTo>
                        <a:pt x="1671782" y="1662545"/>
                      </a:lnTo>
                      <a:lnTo>
                        <a:pt x="1533237" y="1607127"/>
                      </a:lnTo>
                      <a:lnTo>
                        <a:pt x="1394691" y="1607127"/>
                      </a:lnTo>
                      <a:lnTo>
                        <a:pt x="1357746" y="1699491"/>
                      </a:lnTo>
                      <a:lnTo>
                        <a:pt x="175491" y="1727200"/>
                      </a:lnTo>
                      <a:lnTo>
                        <a:pt x="179562" y="1723130"/>
                      </a:lnTo>
                      <a:lnTo>
                        <a:pt x="157018" y="1727200"/>
                      </a:lnTo>
                      <a:lnTo>
                        <a:pt x="314037" y="997527"/>
                      </a:lnTo>
                      <a:lnTo>
                        <a:pt x="0" y="517236"/>
                      </a:lnTo>
                      <a:lnTo>
                        <a:pt x="295564" y="323273"/>
                      </a:lnTo>
                      <a:lnTo>
                        <a:pt x="304800" y="101600"/>
                      </a:lnTo>
                      <a:close/>
                    </a:path>
                  </a:pathLst>
                </a:cu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a:solidFill>
                        <a:schemeClr val="bg1"/>
                      </a:solidFill>
                      <a:latin typeface="Arial" panose="020B0604020202020204" pitchFamily="34" charset="0"/>
                      <a:cs typeface="Arial" panose="020B0604020202020204" pitchFamily="34" charset="0"/>
                    </a:rPr>
                    <a:t>PR</a:t>
                  </a:r>
                </a:p>
              </p:txBody>
            </p:sp>
            <p:grpSp>
              <p:nvGrpSpPr>
                <p:cNvPr id="45" name="Group 44">
                  <a:extLst>
                    <a:ext uri="{FF2B5EF4-FFF2-40B4-BE49-F238E27FC236}">
                      <a16:creationId xmlns:a16="http://schemas.microsoft.com/office/drawing/2014/main" id="{17B6F741-16C2-4706-8FC7-2BB0C6B6B932}"/>
                    </a:ext>
                  </a:extLst>
                </p:cNvPr>
                <p:cNvGrpSpPr>
                  <a:grpSpLocks noChangeAspect="1"/>
                </p:cNvGrpSpPr>
                <p:nvPr/>
              </p:nvGrpSpPr>
              <p:grpSpPr>
                <a:xfrm>
                  <a:off x="3080784" y="3294423"/>
                  <a:ext cx="676662" cy="410867"/>
                  <a:chOff x="2303997" y="1447742"/>
                  <a:chExt cx="8487981" cy="5153891"/>
                </a:xfrm>
                <a:grpFill/>
              </p:grpSpPr>
              <p:sp>
                <p:nvSpPr>
                  <p:cNvPr id="46" name="Freeform: Shape 45">
                    <a:extLst>
                      <a:ext uri="{FF2B5EF4-FFF2-40B4-BE49-F238E27FC236}">
                        <a16:creationId xmlns:a16="http://schemas.microsoft.com/office/drawing/2014/main" id="{4971BCD8-BBBA-4327-90FC-747711247A66}"/>
                      </a:ext>
                    </a:extLst>
                  </p:cNvPr>
                  <p:cNvSpPr/>
                  <p:nvPr/>
                </p:nvSpPr>
                <p:spPr>
                  <a:xfrm>
                    <a:off x="2303997" y="1447742"/>
                    <a:ext cx="3491344" cy="1403930"/>
                  </a:xfrm>
                  <a:custGeom>
                    <a:avLst/>
                    <a:gdLst>
                      <a:gd name="connsiteX0" fmla="*/ 1810327 w 3491345"/>
                      <a:gd name="connsiteY0" fmla="*/ 0 h 1403927"/>
                      <a:gd name="connsiteX1" fmla="*/ 3334327 w 3491345"/>
                      <a:gd name="connsiteY1" fmla="*/ 858982 h 1403927"/>
                      <a:gd name="connsiteX2" fmla="*/ 3205018 w 3491345"/>
                      <a:gd name="connsiteY2" fmla="*/ 1043709 h 1403927"/>
                      <a:gd name="connsiteX3" fmla="*/ 3297381 w 3491345"/>
                      <a:gd name="connsiteY3" fmla="*/ 1034473 h 1403927"/>
                      <a:gd name="connsiteX4" fmla="*/ 3491345 w 3491345"/>
                      <a:gd name="connsiteY4" fmla="*/ 1182255 h 1403927"/>
                      <a:gd name="connsiteX5" fmla="*/ 3371272 w 3491345"/>
                      <a:gd name="connsiteY5" fmla="*/ 1256146 h 1403927"/>
                      <a:gd name="connsiteX6" fmla="*/ 3075709 w 3491345"/>
                      <a:gd name="connsiteY6" fmla="*/ 1117600 h 1403927"/>
                      <a:gd name="connsiteX7" fmla="*/ 2881745 w 3491345"/>
                      <a:gd name="connsiteY7" fmla="*/ 1126837 h 1403927"/>
                      <a:gd name="connsiteX8" fmla="*/ 2900218 w 3491345"/>
                      <a:gd name="connsiteY8" fmla="*/ 1403927 h 1403927"/>
                      <a:gd name="connsiteX9" fmla="*/ 2743200 w 3491345"/>
                      <a:gd name="connsiteY9" fmla="*/ 1385455 h 1403927"/>
                      <a:gd name="connsiteX10" fmla="*/ 2512291 w 3491345"/>
                      <a:gd name="connsiteY10" fmla="*/ 1209964 h 1403927"/>
                      <a:gd name="connsiteX11" fmla="*/ 2401454 w 3491345"/>
                      <a:gd name="connsiteY11" fmla="*/ 1265382 h 1403927"/>
                      <a:gd name="connsiteX12" fmla="*/ 2004291 w 3491345"/>
                      <a:gd name="connsiteY12" fmla="*/ 1062182 h 1403927"/>
                      <a:gd name="connsiteX13" fmla="*/ 1958109 w 3491345"/>
                      <a:gd name="connsiteY13" fmla="*/ 895927 h 1403927"/>
                      <a:gd name="connsiteX14" fmla="*/ 2078181 w 3491345"/>
                      <a:gd name="connsiteY14" fmla="*/ 812800 h 1403927"/>
                      <a:gd name="connsiteX15" fmla="*/ 1902691 w 3491345"/>
                      <a:gd name="connsiteY15" fmla="*/ 692727 h 1403927"/>
                      <a:gd name="connsiteX16" fmla="*/ 1745672 w 3491345"/>
                      <a:gd name="connsiteY16" fmla="*/ 785091 h 1403927"/>
                      <a:gd name="connsiteX17" fmla="*/ 1723827 w 3491345"/>
                      <a:gd name="connsiteY17" fmla="*/ 780930 h 1403927"/>
                      <a:gd name="connsiteX18" fmla="*/ 1690254 w 3491345"/>
                      <a:gd name="connsiteY18" fmla="*/ 868218 h 1403927"/>
                      <a:gd name="connsiteX19" fmla="*/ 1616363 w 3491345"/>
                      <a:gd name="connsiteY19" fmla="*/ 803564 h 1403927"/>
                      <a:gd name="connsiteX20" fmla="*/ 1477818 w 3491345"/>
                      <a:gd name="connsiteY20" fmla="*/ 942109 h 1403927"/>
                      <a:gd name="connsiteX21" fmla="*/ 1330036 w 3491345"/>
                      <a:gd name="connsiteY21" fmla="*/ 951346 h 1403927"/>
                      <a:gd name="connsiteX22" fmla="*/ 1339272 w 3491345"/>
                      <a:gd name="connsiteY22" fmla="*/ 895927 h 1403927"/>
                      <a:gd name="connsiteX23" fmla="*/ 1293091 w 3491345"/>
                      <a:gd name="connsiteY23" fmla="*/ 803564 h 1403927"/>
                      <a:gd name="connsiteX24" fmla="*/ 1191491 w 3491345"/>
                      <a:gd name="connsiteY24" fmla="*/ 914400 h 1403927"/>
                      <a:gd name="connsiteX25" fmla="*/ 969818 w 3491345"/>
                      <a:gd name="connsiteY25" fmla="*/ 766618 h 1403927"/>
                      <a:gd name="connsiteX26" fmla="*/ 1163781 w 3491345"/>
                      <a:gd name="connsiteY26" fmla="*/ 674255 h 1403927"/>
                      <a:gd name="connsiteX27" fmla="*/ 1163763 w 3491345"/>
                      <a:gd name="connsiteY27" fmla="*/ 674251 h 1403927"/>
                      <a:gd name="connsiteX28" fmla="*/ 715658 w 3491345"/>
                      <a:gd name="connsiteY28" fmla="*/ 588898 h 1403927"/>
                      <a:gd name="connsiteX29" fmla="*/ 508000 w 3491345"/>
                      <a:gd name="connsiteY29" fmla="*/ 692727 h 1403927"/>
                      <a:gd name="connsiteX30" fmla="*/ 471054 w 3491345"/>
                      <a:gd name="connsiteY30" fmla="*/ 628073 h 1403927"/>
                      <a:gd name="connsiteX31" fmla="*/ 277091 w 3491345"/>
                      <a:gd name="connsiteY31" fmla="*/ 711200 h 1403927"/>
                      <a:gd name="connsiteX32" fmla="*/ 0 w 3491345"/>
                      <a:gd name="connsiteY32" fmla="*/ 498764 h 1403927"/>
                      <a:gd name="connsiteX33" fmla="*/ 33213 w 3491345"/>
                      <a:gd name="connsiteY33" fmla="*/ 458908 h 1403927"/>
                      <a:gd name="connsiteX34" fmla="*/ 0 w 3491345"/>
                      <a:gd name="connsiteY34" fmla="*/ 452582 h 1403927"/>
                      <a:gd name="connsiteX35" fmla="*/ 637309 w 3491345"/>
                      <a:gd name="connsiteY35" fmla="*/ 240146 h 1403927"/>
                      <a:gd name="connsiteX36" fmla="*/ 822036 w 3491345"/>
                      <a:gd name="connsiteY36" fmla="*/ 314037 h 1403927"/>
                      <a:gd name="connsiteX37" fmla="*/ 914400 w 3491345"/>
                      <a:gd name="connsiteY37" fmla="*/ 157018 h 1403927"/>
                      <a:gd name="connsiteX38" fmla="*/ 1524000 w 3491345"/>
                      <a:gd name="connsiteY38" fmla="*/ 184727 h 1403927"/>
                      <a:gd name="connsiteX39" fmla="*/ 1533236 w 3491345"/>
                      <a:gd name="connsiteY39" fmla="*/ 73891 h 1403927"/>
                      <a:gd name="connsiteX40" fmla="*/ 1995054 w 3491345"/>
                      <a:gd name="connsiteY40" fmla="*/ 360218 h 1403927"/>
                      <a:gd name="connsiteX41" fmla="*/ 2059709 w 3491345"/>
                      <a:gd name="connsiteY41" fmla="*/ 193964 h 140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491345" h="1403927">
                        <a:moveTo>
                          <a:pt x="1810327" y="0"/>
                        </a:moveTo>
                        <a:lnTo>
                          <a:pt x="3334327" y="858982"/>
                        </a:lnTo>
                        <a:lnTo>
                          <a:pt x="3205018" y="1043709"/>
                        </a:lnTo>
                        <a:lnTo>
                          <a:pt x="3297381" y="1034473"/>
                        </a:lnTo>
                        <a:lnTo>
                          <a:pt x="3491345" y="1182255"/>
                        </a:lnTo>
                        <a:lnTo>
                          <a:pt x="3371272" y="1256146"/>
                        </a:lnTo>
                        <a:lnTo>
                          <a:pt x="3075709" y="1117600"/>
                        </a:lnTo>
                        <a:lnTo>
                          <a:pt x="2881745" y="1126837"/>
                        </a:lnTo>
                        <a:lnTo>
                          <a:pt x="2900218" y="1403927"/>
                        </a:lnTo>
                        <a:lnTo>
                          <a:pt x="2743200" y="1385455"/>
                        </a:lnTo>
                        <a:lnTo>
                          <a:pt x="2512291" y="1209964"/>
                        </a:lnTo>
                        <a:lnTo>
                          <a:pt x="2401454" y="1265382"/>
                        </a:lnTo>
                        <a:lnTo>
                          <a:pt x="2004291" y="1062182"/>
                        </a:lnTo>
                        <a:lnTo>
                          <a:pt x="1958109" y="895927"/>
                        </a:lnTo>
                        <a:lnTo>
                          <a:pt x="2078181" y="812800"/>
                        </a:lnTo>
                        <a:lnTo>
                          <a:pt x="1902691" y="692727"/>
                        </a:lnTo>
                        <a:lnTo>
                          <a:pt x="1745672" y="785091"/>
                        </a:lnTo>
                        <a:lnTo>
                          <a:pt x="1723827" y="780930"/>
                        </a:lnTo>
                        <a:lnTo>
                          <a:pt x="1690254" y="868218"/>
                        </a:lnTo>
                        <a:lnTo>
                          <a:pt x="1616363" y="803564"/>
                        </a:lnTo>
                        <a:lnTo>
                          <a:pt x="1477818" y="942109"/>
                        </a:lnTo>
                        <a:lnTo>
                          <a:pt x="1330036" y="951346"/>
                        </a:lnTo>
                        <a:lnTo>
                          <a:pt x="1339272" y="895927"/>
                        </a:lnTo>
                        <a:lnTo>
                          <a:pt x="1293091" y="803564"/>
                        </a:lnTo>
                        <a:lnTo>
                          <a:pt x="1191491" y="914400"/>
                        </a:lnTo>
                        <a:lnTo>
                          <a:pt x="969818" y="766618"/>
                        </a:lnTo>
                        <a:lnTo>
                          <a:pt x="1163781" y="674255"/>
                        </a:lnTo>
                        <a:lnTo>
                          <a:pt x="1163763" y="674251"/>
                        </a:lnTo>
                        <a:lnTo>
                          <a:pt x="715658" y="588898"/>
                        </a:lnTo>
                        <a:lnTo>
                          <a:pt x="508000" y="692727"/>
                        </a:lnTo>
                        <a:lnTo>
                          <a:pt x="471054" y="628073"/>
                        </a:lnTo>
                        <a:lnTo>
                          <a:pt x="277091" y="711200"/>
                        </a:lnTo>
                        <a:lnTo>
                          <a:pt x="0" y="498764"/>
                        </a:lnTo>
                        <a:lnTo>
                          <a:pt x="33213" y="458908"/>
                        </a:lnTo>
                        <a:lnTo>
                          <a:pt x="0" y="452582"/>
                        </a:lnTo>
                        <a:lnTo>
                          <a:pt x="637309" y="240146"/>
                        </a:lnTo>
                        <a:lnTo>
                          <a:pt x="822036" y="314037"/>
                        </a:lnTo>
                        <a:lnTo>
                          <a:pt x="914400" y="157018"/>
                        </a:lnTo>
                        <a:lnTo>
                          <a:pt x="1524000" y="184727"/>
                        </a:lnTo>
                        <a:lnTo>
                          <a:pt x="1533236" y="73891"/>
                        </a:lnTo>
                        <a:lnTo>
                          <a:pt x="1995054" y="360218"/>
                        </a:lnTo>
                        <a:lnTo>
                          <a:pt x="2059709" y="193964"/>
                        </a:lnTo>
                        <a:close/>
                      </a:path>
                    </a:pathLst>
                  </a:cu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21418A"/>
                      </a:solidFill>
                    </a:endParaRPr>
                  </a:p>
                </p:txBody>
              </p:sp>
              <p:sp>
                <p:nvSpPr>
                  <p:cNvPr id="47" name="Freeform: Shape 46">
                    <a:extLst>
                      <a:ext uri="{FF2B5EF4-FFF2-40B4-BE49-F238E27FC236}">
                        <a16:creationId xmlns:a16="http://schemas.microsoft.com/office/drawing/2014/main" id="{B5566D16-F841-4E94-92A9-2663E49440C3}"/>
                      </a:ext>
                    </a:extLst>
                  </p:cNvPr>
                  <p:cNvSpPr/>
                  <p:nvPr/>
                </p:nvSpPr>
                <p:spPr>
                  <a:xfrm>
                    <a:off x="6441891" y="1521651"/>
                    <a:ext cx="2355268" cy="1422395"/>
                  </a:xfrm>
                  <a:custGeom>
                    <a:avLst/>
                    <a:gdLst>
                      <a:gd name="connsiteX0" fmla="*/ 979054 w 2355272"/>
                      <a:gd name="connsiteY0" fmla="*/ 184727 h 1422400"/>
                      <a:gd name="connsiteX1" fmla="*/ 1856509 w 2355272"/>
                      <a:gd name="connsiteY1" fmla="*/ 277091 h 1422400"/>
                      <a:gd name="connsiteX2" fmla="*/ 2355272 w 2355272"/>
                      <a:gd name="connsiteY2" fmla="*/ 618836 h 1422400"/>
                      <a:gd name="connsiteX3" fmla="*/ 2207490 w 2355272"/>
                      <a:gd name="connsiteY3" fmla="*/ 831273 h 1422400"/>
                      <a:gd name="connsiteX4" fmla="*/ 2068945 w 2355272"/>
                      <a:gd name="connsiteY4" fmla="*/ 785091 h 1422400"/>
                      <a:gd name="connsiteX5" fmla="*/ 2115127 w 2355272"/>
                      <a:gd name="connsiteY5" fmla="*/ 591127 h 1422400"/>
                      <a:gd name="connsiteX6" fmla="*/ 1671781 w 2355272"/>
                      <a:gd name="connsiteY6" fmla="*/ 369455 h 1422400"/>
                      <a:gd name="connsiteX7" fmla="*/ 1551709 w 2355272"/>
                      <a:gd name="connsiteY7" fmla="*/ 461818 h 1422400"/>
                      <a:gd name="connsiteX8" fmla="*/ 1727200 w 2355272"/>
                      <a:gd name="connsiteY8" fmla="*/ 683491 h 1422400"/>
                      <a:gd name="connsiteX9" fmla="*/ 1505527 w 2355272"/>
                      <a:gd name="connsiteY9" fmla="*/ 628073 h 1422400"/>
                      <a:gd name="connsiteX10" fmla="*/ 1348509 w 2355272"/>
                      <a:gd name="connsiteY10" fmla="*/ 508000 h 1422400"/>
                      <a:gd name="connsiteX11" fmla="*/ 1570181 w 2355272"/>
                      <a:gd name="connsiteY11" fmla="*/ 785091 h 1422400"/>
                      <a:gd name="connsiteX12" fmla="*/ 1699490 w 2355272"/>
                      <a:gd name="connsiteY12" fmla="*/ 988291 h 1422400"/>
                      <a:gd name="connsiteX13" fmla="*/ 1644072 w 2355272"/>
                      <a:gd name="connsiteY13" fmla="*/ 1422400 h 1422400"/>
                      <a:gd name="connsiteX14" fmla="*/ 1560945 w 2355272"/>
                      <a:gd name="connsiteY14" fmla="*/ 1237673 h 1422400"/>
                      <a:gd name="connsiteX15" fmla="*/ 1376218 w 2355272"/>
                      <a:gd name="connsiteY15" fmla="*/ 1145309 h 1422400"/>
                      <a:gd name="connsiteX16" fmla="*/ 1136072 w 2355272"/>
                      <a:gd name="connsiteY16" fmla="*/ 1025236 h 1422400"/>
                      <a:gd name="connsiteX17" fmla="*/ 1163781 w 2355272"/>
                      <a:gd name="connsiteY17" fmla="*/ 1108364 h 1422400"/>
                      <a:gd name="connsiteX18" fmla="*/ 840509 w 2355272"/>
                      <a:gd name="connsiteY18" fmla="*/ 923636 h 1422400"/>
                      <a:gd name="connsiteX19" fmla="*/ 701963 w 2355272"/>
                      <a:gd name="connsiteY19" fmla="*/ 1080655 h 1422400"/>
                      <a:gd name="connsiteX20" fmla="*/ 314036 w 2355272"/>
                      <a:gd name="connsiteY20" fmla="*/ 1052946 h 1422400"/>
                      <a:gd name="connsiteX21" fmla="*/ 341745 w 2355272"/>
                      <a:gd name="connsiteY21" fmla="*/ 1200727 h 1422400"/>
                      <a:gd name="connsiteX22" fmla="*/ 83127 w 2355272"/>
                      <a:gd name="connsiteY22" fmla="*/ 1062182 h 1422400"/>
                      <a:gd name="connsiteX23" fmla="*/ 193963 w 2355272"/>
                      <a:gd name="connsiteY23" fmla="*/ 932873 h 1422400"/>
                      <a:gd name="connsiteX24" fmla="*/ 27709 w 2355272"/>
                      <a:gd name="connsiteY24" fmla="*/ 942109 h 1422400"/>
                      <a:gd name="connsiteX25" fmla="*/ 0 w 2355272"/>
                      <a:gd name="connsiteY25" fmla="*/ 711200 h 1422400"/>
                      <a:gd name="connsiteX26" fmla="*/ 212436 w 2355272"/>
                      <a:gd name="connsiteY26" fmla="*/ 572655 h 1422400"/>
                      <a:gd name="connsiteX27" fmla="*/ 267854 w 2355272"/>
                      <a:gd name="connsiteY27" fmla="*/ 424873 h 1422400"/>
                      <a:gd name="connsiteX28" fmla="*/ 350981 w 2355272"/>
                      <a:gd name="connsiteY28" fmla="*/ 526473 h 1422400"/>
                      <a:gd name="connsiteX29" fmla="*/ 905163 w 2355272"/>
                      <a:gd name="connsiteY29" fmla="*/ 304800 h 1422400"/>
                      <a:gd name="connsiteX30" fmla="*/ 905163 w 2355272"/>
                      <a:gd name="connsiteY30" fmla="*/ 129309 h 1422400"/>
                      <a:gd name="connsiteX31" fmla="*/ 738909 w 2355272"/>
                      <a:gd name="connsiteY31" fmla="*/ 83127 h 1422400"/>
                      <a:gd name="connsiteX32" fmla="*/ 812800 w 2355272"/>
                      <a:gd name="connsiteY32" fmla="*/ 0 h 1422400"/>
                      <a:gd name="connsiteX33" fmla="*/ 1126836 w 2355272"/>
                      <a:gd name="connsiteY33" fmla="*/ 83127 h 1422400"/>
                      <a:gd name="connsiteX34" fmla="*/ 1043709 w 2355272"/>
                      <a:gd name="connsiteY34" fmla="*/ 203200 h 142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55272" h="1422400">
                        <a:moveTo>
                          <a:pt x="979054" y="184727"/>
                        </a:moveTo>
                        <a:lnTo>
                          <a:pt x="1856509" y="277091"/>
                        </a:lnTo>
                        <a:lnTo>
                          <a:pt x="2355272" y="618836"/>
                        </a:lnTo>
                        <a:lnTo>
                          <a:pt x="2207490" y="831273"/>
                        </a:lnTo>
                        <a:lnTo>
                          <a:pt x="2068945" y="785091"/>
                        </a:lnTo>
                        <a:lnTo>
                          <a:pt x="2115127" y="591127"/>
                        </a:lnTo>
                        <a:lnTo>
                          <a:pt x="1671781" y="369455"/>
                        </a:lnTo>
                        <a:lnTo>
                          <a:pt x="1551709" y="461818"/>
                        </a:lnTo>
                        <a:lnTo>
                          <a:pt x="1727200" y="683491"/>
                        </a:lnTo>
                        <a:lnTo>
                          <a:pt x="1505527" y="628073"/>
                        </a:lnTo>
                        <a:lnTo>
                          <a:pt x="1348509" y="508000"/>
                        </a:lnTo>
                        <a:lnTo>
                          <a:pt x="1570181" y="785091"/>
                        </a:lnTo>
                        <a:lnTo>
                          <a:pt x="1699490" y="988291"/>
                        </a:lnTo>
                        <a:lnTo>
                          <a:pt x="1644072" y="1422400"/>
                        </a:lnTo>
                        <a:lnTo>
                          <a:pt x="1560945" y="1237673"/>
                        </a:lnTo>
                        <a:lnTo>
                          <a:pt x="1376218" y="1145309"/>
                        </a:lnTo>
                        <a:lnTo>
                          <a:pt x="1136072" y="1025236"/>
                        </a:lnTo>
                        <a:lnTo>
                          <a:pt x="1163781" y="1108364"/>
                        </a:lnTo>
                        <a:lnTo>
                          <a:pt x="840509" y="923636"/>
                        </a:lnTo>
                        <a:lnTo>
                          <a:pt x="701963" y="1080655"/>
                        </a:lnTo>
                        <a:lnTo>
                          <a:pt x="314036" y="1052946"/>
                        </a:lnTo>
                        <a:lnTo>
                          <a:pt x="341745" y="1200727"/>
                        </a:lnTo>
                        <a:lnTo>
                          <a:pt x="83127" y="1062182"/>
                        </a:lnTo>
                        <a:lnTo>
                          <a:pt x="193963" y="932873"/>
                        </a:lnTo>
                        <a:lnTo>
                          <a:pt x="27709" y="942109"/>
                        </a:lnTo>
                        <a:lnTo>
                          <a:pt x="0" y="711200"/>
                        </a:lnTo>
                        <a:lnTo>
                          <a:pt x="212436" y="572655"/>
                        </a:lnTo>
                        <a:lnTo>
                          <a:pt x="267854" y="424873"/>
                        </a:lnTo>
                        <a:lnTo>
                          <a:pt x="350981" y="526473"/>
                        </a:lnTo>
                        <a:lnTo>
                          <a:pt x="905163" y="304800"/>
                        </a:lnTo>
                        <a:lnTo>
                          <a:pt x="905163" y="129309"/>
                        </a:lnTo>
                        <a:lnTo>
                          <a:pt x="738909" y="83127"/>
                        </a:lnTo>
                        <a:lnTo>
                          <a:pt x="812800" y="0"/>
                        </a:lnTo>
                        <a:lnTo>
                          <a:pt x="1126836" y="83127"/>
                        </a:lnTo>
                        <a:lnTo>
                          <a:pt x="1043709" y="203200"/>
                        </a:lnTo>
                      </a:path>
                    </a:pathLst>
                  </a:cu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418A"/>
                      </a:solidFill>
                    </a:endParaRPr>
                  </a:p>
                </p:txBody>
              </p:sp>
              <p:sp>
                <p:nvSpPr>
                  <p:cNvPr id="48" name="Freeform: Shape 47">
                    <a:extLst>
                      <a:ext uri="{FF2B5EF4-FFF2-40B4-BE49-F238E27FC236}">
                        <a16:creationId xmlns:a16="http://schemas.microsoft.com/office/drawing/2014/main" id="{78762200-03B1-44A4-B198-A96A8566E294}"/>
                      </a:ext>
                    </a:extLst>
                  </p:cNvPr>
                  <p:cNvSpPr/>
                  <p:nvPr/>
                </p:nvSpPr>
                <p:spPr>
                  <a:xfrm>
                    <a:off x="5037727" y="4569628"/>
                    <a:ext cx="5754251" cy="2032005"/>
                  </a:xfrm>
                  <a:custGeom>
                    <a:avLst/>
                    <a:gdLst>
                      <a:gd name="connsiteX0" fmla="*/ 563418 w 5754255"/>
                      <a:gd name="connsiteY0" fmla="*/ 230909 h 2032000"/>
                      <a:gd name="connsiteX1" fmla="*/ 1145309 w 5754255"/>
                      <a:gd name="connsiteY1" fmla="*/ 434109 h 2032000"/>
                      <a:gd name="connsiteX2" fmla="*/ 1634836 w 5754255"/>
                      <a:gd name="connsiteY2" fmla="*/ 203200 h 2032000"/>
                      <a:gd name="connsiteX3" fmla="*/ 1717964 w 5754255"/>
                      <a:gd name="connsiteY3" fmla="*/ 101600 h 2032000"/>
                      <a:gd name="connsiteX4" fmla="*/ 1948873 w 5754255"/>
                      <a:gd name="connsiteY4" fmla="*/ 120073 h 2032000"/>
                      <a:gd name="connsiteX5" fmla="*/ 2161309 w 5754255"/>
                      <a:gd name="connsiteY5" fmla="*/ 18473 h 2032000"/>
                      <a:gd name="connsiteX6" fmla="*/ 2456873 w 5754255"/>
                      <a:gd name="connsiteY6" fmla="*/ 83127 h 2032000"/>
                      <a:gd name="connsiteX7" fmla="*/ 2503055 w 5754255"/>
                      <a:gd name="connsiteY7" fmla="*/ 230909 h 2032000"/>
                      <a:gd name="connsiteX8" fmla="*/ 2632364 w 5754255"/>
                      <a:gd name="connsiteY8" fmla="*/ 221673 h 2032000"/>
                      <a:gd name="connsiteX9" fmla="*/ 2604655 w 5754255"/>
                      <a:gd name="connsiteY9" fmla="*/ 55418 h 2032000"/>
                      <a:gd name="connsiteX10" fmla="*/ 2706255 w 5754255"/>
                      <a:gd name="connsiteY10" fmla="*/ 0 h 2032000"/>
                      <a:gd name="connsiteX11" fmla="*/ 3426691 w 5754255"/>
                      <a:gd name="connsiteY11" fmla="*/ 692727 h 2032000"/>
                      <a:gd name="connsiteX12" fmla="*/ 3814618 w 5754255"/>
                      <a:gd name="connsiteY12" fmla="*/ 618836 h 2032000"/>
                      <a:gd name="connsiteX13" fmla="*/ 3842327 w 5754255"/>
                      <a:gd name="connsiteY13" fmla="*/ 424873 h 2032000"/>
                      <a:gd name="connsiteX14" fmla="*/ 4091709 w 5754255"/>
                      <a:gd name="connsiteY14" fmla="*/ 434109 h 2032000"/>
                      <a:gd name="connsiteX15" fmla="*/ 4119418 w 5754255"/>
                      <a:gd name="connsiteY15" fmla="*/ 517236 h 2032000"/>
                      <a:gd name="connsiteX16" fmla="*/ 4257964 w 5754255"/>
                      <a:gd name="connsiteY16" fmla="*/ 378691 h 2032000"/>
                      <a:gd name="connsiteX17" fmla="*/ 4969164 w 5754255"/>
                      <a:gd name="connsiteY17" fmla="*/ 471055 h 2032000"/>
                      <a:gd name="connsiteX18" fmla="*/ 5218545 w 5754255"/>
                      <a:gd name="connsiteY18" fmla="*/ 563418 h 2032000"/>
                      <a:gd name="connsiteX19" fmla="*/ 5726545 w 5754255"/>
                      <a:gd name="connsiteY19" fmla="*/ 452582 h 2032000"/>
                      <a:gd name="connsiteX20" fmla="*/ 5754255 w 5754255"/>
                      <a:gd name="connsiteY20" fmla="*/ 637309 h 2032000"/>
                      <a:gd name="connsiteX21" fmla="*/ 5116945 w 5754255"/>
                      <a:gd name="connsiteY21" fmla="*/ 711200 h 2032000"/>
                      <a:gd name="connsiteX22" fmla="*/ 5024582 w 5754255"/>
                      <a:gd name="connsiteY22" fmla="*/ 988291 h 2032000"/>
                      <a:gd name="connsiteX23" fmla="*/ 4784436 w 5754255"/>
                      <a:gd name="connsiteY23" fmla="*/ 997527 h 2032000"/>
                      <a:gd name="connsiteX24" fmla="*/ 4498109 w 5754255"/>
                      <a:gd name="connsiteY24" fmla="*/ 1136073 h 2032000"/>
                      <a:gd name="connsiteX25" fmla="*/ 4267200 w 5754255"/>
                      <a:gd name="connsiteY25" fmla="*/ 1016000 h 2032000"/>
                      <a:gd name="connsiteX26" fmla="*/ 4184073 w 5754255"/>
                      <a:gd name="connsiteY26" fmla="*/ 1062182 h 2032000"/>
                      <a:gd name="connsiteX27" fmla="*/ 4073236 w 5754255"/>
                      <a:gd name="connsiteY27" fmla="*/ 1283855 h 2032000"/>
                      <a:gd name="connsiteX28" fmla="*/ 3149600 w 5754255"/>
                      <a:gd name="connsiteY28" fmla="*/ 1560946 h 2032000"/>
                      <a:gd name="connsiteX29" fmla="*/ 2937164 w 5754255"/>
                      <a:gd name="connsiteY29" fmla="*/ 1459346 h 2032000"/>
                      <a:gd name="connsiteX30" fmla="*/ 2780145 w 5754255"/>
                      <a:gd name="connsiteY30" fmla="*/ 1560946 h 2032000"/>
                      <a:gd name="connsiteX31" fmla="*/ 2484582 w 5754255"/>
                      <a:gd name="connsiteY31" fmla="*/ 1597891 h 2032000"/>
                      <a:gd name="connsiteX32" fmla="*/ 2318327 w 5754255"/>
                      <a:gd name="connsiteY32" fmla="*/ 1394691 h 2032000"/>
                      <a:gd name="connsiteX33" fmla="*/ 2401455 w 5754255"/>
                      <a:gd name="connsiteY33" fmla="*/ 1699491 h 2032000"/>
                      <a:gd name="connsiteX34" fmla="*/ 2392218 w 5754255"/>
                      <a:gd name="connsiteY34" fmla="*/ 1727200 h 2032000"/>
                      <a:gd name="connsiteX35" fmla="*/ 2059709 w 5754255"/>
                      <a:gd name="connsiteY35" fmla="*/ 1607127 h 2032000"/>
                      <a:gd name="connsiteX36" fmla="*/ 1173018 w 5754255"/>
                      <a:gd name="connsiteY36" fmla="*/ 1884218 h 2032000"/>
                      <a:gd name="connsiteX37" fmla="*/ 1043709 w 5754255"/>
                      <a:gd name="connsiteY37" fmla="*/ 1782618 h 2032000"/>
                      <a:gd name="connsiteX38" fmla="*/ 314036 w 5754255"/>
                      <a:gd name="connsiteY38" fmla="*/ 1801091 h 2032000"/>
                      <a:gd name="connsiteX39" fmla="*/ 101600 w 5754255"/>
                      <a:gd name="connsiteY39" fmla="*/ 2032000 h 2032000"/>
                      <a:gd name="connsiteX40" fmla="*/ 0 w 5754255"/>
                      <a:gd name="connsiteY40" fmla="*/ 1921164 h 2032000"/>
                      <a:gd name="connsiteX41" fmla="*/ 369455 w 5754255"/>
                      <a:gd name="connsiteY41" fmla="*/ 1403927 h 2032000"/>
                      <a:gd name="connsiteX42" fmla="*/ 212436 w 5754255"/>
                      <a:gd name="connsiteY42" fmla="*/ 711200 h 2032000"/>
                      <a:gd name="connsiteX43" fmla="*/ 369455 w 5754255"/>
                      <a:gd name="connsiteY43" fmla="*/ 397164 h 2032000"/>
                      <a:gd name="connsiteX44" fmla="*/ 600364 w 5754255"/>
                      <a:gd name="connsiteY44" fmla="*/ 221673 h 20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754255" h="2032000">
                        <a:moveTo>
                          <a:pt x="563418" y="230909"/>
                        </a:moveTo>
                        <a:lnTo>
                          <a:pt x="1145309" y="434109"/>
                        </a:lnTo>
                        <a:lnTo>
                          <a:pt x="1634836" y="203200"/>
                        </a:lnTo>
                        <a:lnTo>
                          <a:pt x="1717964" y="101600"/>
                        </a:lnTo>
                        <a:lnTo>
                          <a:pt x="1948873" y="120073"/>
                        </a:lnTo>
                        <a:lnTo>
                          <a:pt x="2161309" y="18473"/>
                        </a:lnTo>
                        <a:lnTo>
                          <a:pt x="2456873" y="83127"/>
                        </a:lnTo>
                        <a:lnTo>
                          <a:pt x="2503055" y="230909"/>
                        </a:lnTo>
                        <a:lnTo>
                          <a:pt x="2632364" y="221673"/>
                        </a:lnTo>
                        <a:lnTo>
                          <a:pt x="2604655" y="55418"/>
                        </a:lnTo>
                        <a:lnTo>
                          <a:pt x="2706255" y="0"/>
                        </a:lnTo>
                        <a:lnTo>
                          <a:pt x="3426691" y="692727"/>
                        </a:lnTo>
                        <a:lnTo>
                          <a:pt x="3814618" y="618836"/>
                        </a:lnTo>
                        <a:lnTo>
                          <a:pt x="3842327" y="424873"/>
                        </a:lnTo>
                        <a:lnTo>
                          <a:pt x="4091709" y="434109"/>
                        </a:lnTo>
                        <a:lnTo>
                          <a:pt x="4119418" y="517236"/>
                        </a:lnTo>
                        <a:lnTo>
                          <a:pt x="4257964" y="378691"/>
                        </a:lnTo>
                        <a:lnTo>
                          <a:pt x="4969164" y="471055"/>
                        </a:lnTo>
                        <a:lnTo>
                          <a:pt x="5218545" y="563418"/>
                        </a:lnTo>
                        <a:lnTo>
                          <a:pt x="5726545" y="452582"/>
                        </a:lnTo>
                        <a:lnTo>
                          <a:pt x="5754255" y="637309"/>
                        </a:lnTo>
                        <a:lnTo>
                          <a:pt x="5116945" y="711200"/>
                        </a:lnTo>
                        <a:lnTo>
                          <a:pt x="5024582" y="988291"/>
                        </a:lnTo>
                        <a:lnTo>
                          <a:pt x="4784436" y="997527"/>
                        </a:lnTo>
                        <a:lnTo>
                          <a:pt x="4498109" y="1136073"/>
                        </a:lnTo>
                        <a:lnTo>
                          <a:pt x="4267200" y="1016000"/>
                        </a:lnTo>
                        <a:lnTo>
                          <a:pt x="4184073" y="1062182"/>
                        </a:lnTo>
                        <a:lnTo>
                          <a:pt x="4073236" y="1283855"/>
                        </a:lnTo>
                        <a:lnTo>
                          <a:pt x="3149600" y="1560946"/>
                        </a:lnTo>
                        <a:lnTo>
                          <a:pt x="2937164" y="1459346"/>
                        </a:lnTo>
                        <a:lnTo>
                          <a:pt x="2780145" y="1560946"/>
                        </a:lnTo>
                        <a:lnTo>
                          <a:pt x="2484582" y="1597891"/>
                        </a:lnTo>
                        <a:lnTo>
                          <a:pt x="2318327" y="1394691"/>
                        </a:lnTo>
                        <a:lnTo>
                          <a:pt x="2401455" y="1699491"/>
                        </a:lnTo>
                        <a:lnTo>
                          <a:pt x="2392218" y="1727200"/>
                        </a:lnTo>
                        <a:lnTo>
                          <a:pt x="2059709" y="1607127"/>
                        </a:lnTo>
                        <a:lnTo>
                          <a:pt x="1173018" y="1884218"/>
                        </a:lnTo>
                        <a:lnTo>
                          <a:pt x="1043709" y="1782618"/>
                        </a:lnTo>
                        <a:lnTo>
                          <a:pt x="314036" y="1801091"/>
                        </a:lnTo>
                        <a:lnTo>
                          <a:pt x="101600" y="2032000"/>
                        </a:lnTo>
                        <a:lnTo>
                          <a:pt x="0" y="1921164"/>
                        </a:lnTo>
                        <a:lnTo>
                          <a:pt x="369455" y="1403927"/>
                        </a:lnTo>
                        <a:lnTo>
                          <a:pt x="212436" y="711200"/>
                        </a:lnTo>
                        <a:lnTo>
                          <a:pt x="369455" y="397164"/>
                        </a:lnTo>
                        <a:lnTo>
                          <a:pt x="600364" y="221673"/>
                        </a:lnTo>
                      </a:path>
                    </a:pathLst>
                  </a:cu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21418A"/>
                      </a:solidFill>
                    </a:endParaRPr>
                  </a:p>
                </p:txBody>
              </p:sp>
            </p:grpSp>
          </p:grpSp>
          <p:sp>
            <p:nvSpPr>
              <p:cNvPr id="41" name="TextBox 40">
                <a:extLst>
                  <a:ext uri="{FF2B5EF4-FFF2-40B4-BE49-F238E27FC236}">
                    <a16:creationId xmlns:a16="http://schemas.microsoft.com/office/drawing/2014/main" id="{9C9ABCE6-2200-4785-B450-E6C4B4D83221}"/>
                  </a:ext>
                </a:extLst>
              </p:cNvPr>
              <p:cNvSpPr txBox="1"/>
              <p:nvPr/>
            </p:nvSpPr>
            <p:spPr>
              <a:xfrm>
                <a:off x="2144145" y="2685771"/>
                <a:ext cx="497666" cy="170045"/>
              </a:xfrm>
              <a:prstGeom prst="rect">
                <a:avLst/>
              </a:prstGeom>
              <a:noFill/>
            </p:spPr>
            <p:txBody>
              <a:bodyPr wrap="square" rtlCol="0">
                <a:spAutoFit/>
              </a:bodyPr>
              <a:lstStyle/>
              <a:p>
                <a:r>
                  <a:rPr lang="en-US" sz="1400" b="1">
                    <a:solidFill>
                      <a:schemeClr val="bg1"/>
                    </a:solidFill>
                    <a:latin typeface="Arial" panose="020B0604020202020204" pitchFamily="34" charset="0"/>
                    <a:cs typeface="Arial" panose="020B0604020202020204" pitchFamily="34" charset="0"/>
                  </a:rPr>
                  <a:t>NY</a:t>
                </a:r>
              </a:p>
            </p:txBody>
          </p:sp>
          <p:sp>
            <p:nvSpPr>
              <p:cNvPr id="42" name="TextBox 41">
                <a:extLst>
                  <a:ext uri="{FF2B5EF4-FFF2-40B4-BE49-F238E27FC236}">
                    <a16:creationId xmlns:a16="http://schemas.microsoft.com/office/drawing/2014/main" id="{5CDF3D63-F23E-4BFE-9B41-BBAA18B9D29F}"/>
                  </a:ext>
                </a:extLst>
              </p:cNvPr>
              <p:cNvSpPr txBox="1"/>
              <p:nvPr/>
            </p:nvSpPr>
            <p:spPr>
              <a:xfrm>
                <a:off x="2562494" y="3581453"/>
                <a:ext cx="497666" cy="170045"/>
              </a:xfrm>
              <a:prstGeom prst="rect">
                <a:avLst/>
              </a:prstGeom>
              <a:noFill/>
            </p:spPr>
            <p:txBody>
              <a:bodyPr wrap="square" rtlCol="0">
                <a:spAutoFit/>
              </a:bodyPr>
              <a:lstStyle/>
              <a:p>
                <a:r>
                  <a:rPr lang="en-US" sz="1400" b="1">
                    <a:solidFill>
                      <a:schemeClr val="bg1"/>
                    </a:solidFill>
                    <a:latin typeface="Arial" panose="020B0604020202020204" pitchFamily="34" charset="0"/>
                    <a:cs typeface="Arial" panose="020B0604020202020204" pitchFamily="34" charset="0"/>
                  </a:rPr>
                  <a:t>NJ</a:t>
                </a:r>
              </a:p>
            </p:txBody>
          </p:sp>
        </p:grpSp>
        <p:sp>
          <p:nvSpPr>
            <p:cNvPr id="39" name="TextBox 38">
              <a:extLst>
                <a:ext uri="{FF2B5EF4-FFF2-40B4-BE49-F238E27FC236}">
                  <a16:creationId xmlns:a16="http://schemas.microsoft.com/office/drawing/2014/main" id="{2850D06F-4CE8-41E4-851A-B3B972D04338}"/>
                </a:ext>
              </a:extLst>
            </p:cNvPr>
            <p:cNvSpPr txBox="1"/>
            <p:nvPr/>
          </p:nvSpPr>
          <p:spPr>
            <a:xfrm>
              <a:off x="4799840" y="4492784"/>
              <a:ext cx="497666" cy="307777"/>
            </a:xfrm>
            <a:prstGeom prst="rect">
              <a:avLst/>
            </a:prstGeom>
            <a:noFill/>
          </p:spPr>
          <p:txBody>
            <a:bodyPr wrap="square" rtlCol="0">
              <a:spAutoFit/>
            </a:bodyPr>
            <a:lstStyle/>
            <a:p>
              <a:r>
                <a:rPr lang="en-US" sz="1400" b="1">
                  <a:solidFill>
                    <a:schemeClr val="bg1"/>
                  </a:solidFill>
                  <a:latin typeface="Arial" panose="020B0604020202020204" pitchFamily="34" charset="0"/>
                  <a:cs typeface="Arial" panose="020B0604020202020204" pitchFamily="34" charset="0"/>
                </a:rPr>
                <a:t>VI</a:t>
              </a:r>
            </a:p>
          </p:txBody>
        </p:sp>
      </p:grpSp>
      <p:pic>
        <p:nvPicPr>
          <p:cNvPr id="6" name="Picture 5" descr="Blue text on a black background&#10;&#10;Description automatically generated">
            <a:extLst>
              <a:ext uri="{FF2B5EF4-FFF2-40B4-BE49-F238E27FC236}">
                <a16:creationId xmlns:a16="http://schemas.microsoft.com/office/drawing/2014/main" id="{860C75F3-6F3E-41DF-2B72-4E4C35064E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186" y="5795989"/>
            <a:ext cx="4880594" cy="1151868"/>
          </a:xfrm>
          <a:prstGeom prst="rect">
            <a:avLst/>
          </a:prstGeom>
        </p:spPr>
      </p:pic>
      <p:pic>
        <p:nvPicPr>
          <p:cNvPr id="9" name="Picture 2" descr="Robert Dweck: NYC Health + Hospitals Brand">
            <a:extLst>
              <a:ext uri="{FF2B5EF4-FFF2-40B4-BE49-F238E27FC236}">
                <a16:creationId xmlns:a16="http://schemas.microsoft.com/office/drawing/2014/main" id="{8A570365-F18F-FB60-C7CB-FE896EBACEB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0301" t="38421" r="20676" b="39474"/>
          <a:stretch/>
        </p:blipFill>
        <p:spPr bwMode="auto">
          <a:xfrm>
            <a:off x="10509250" y="38100"/>
            <a:ext cx="1627095" cy="435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022797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Democratic Republic of the Congo (DRC) Mpox Outbreak </a:t>
            </a:r>
          </a:p>
        </p:txBody>
      </p:sp>
      <p:sp>
        <p:nvSpPr>
          <p:cNvPr id="4" name="TextBox 3">
            <a:extLst>
              <a:ext uri="{FF2B5EF4-FFF2-40B4-BE49-F238E27FC236}">
                <a16:creationId xmlns:a16="http://schemas.microsoft.com/office/drawing/2014/main" id="{00BAD554-4BA6-9B46-C0DC-B4131B2F0143}"/>
              </a:ext>
            </a:extLst>
          </p:cNvPr>
          <p:cNvSpPr txBox="1"/>
          <p:nvPr/>
        </p:nvSpPr>
        <p:spPr>
          <a:xfrm>
            <a:off x="603058" y="1247209"/>
            <a:ext cx="5066958" cy="5016758"/>
          </a:xfrm>
          <a:prstGeom prst="rect">
            <a:avLst/>
          </a:prstGeom>
          <a:noFill/>
        </p:spPr>
        <p:txBody>
          <a:bodyPr wrap="square" rtlCol="0">
            <a:spAutoFit/>
          </a:bodyPr>
          <a:lstStyle/>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US" sz="2000" b="1" u="none" strike="noStrike" kern="1200" cap="none" spc="0" normalizeH="0" baseline="0" noProof="0" err="1">
                <a:ln>
                  <a:noFill/>
                </a:ln>
                <a:solidFill>
                  <a:prstClr val="black"/>
                </a:solidFill>
                <a:effectLst/>
                <a:uLnTx/>
                <a:uFillTx/>
                <a:latin typeface="Calibri" panose="020F0502020204030204"/>
                <a:ea typeface="+mn-ea"/>
                <a:cs typeface="+mn-cs"/>
              </a:rPr>
              <a:t>Mpox</a:t>
            </a:r>
            <a:r>
              <a:rPr kumimoji="0" lang="en-US" sz="2000" b="1" u="none" strike="noStrike" kern="1200" cap="none" spc="0" normalizeH="0" baseline="0" noProof="0">
                <a:ln>
                  <a:noFill/>
                </a:ln>
                <a:solidFill>
                  <a:prstClr val="black"/>
                </a:solidFill>
                <a:effectLst/>
                <a:uLnTx/>
                <a:uFillTx/>
                <a:latin typeface="Calibri" panose="020F0502020204030204"/>
                <a:ea typeface="+mn-ea"/>
                <a:cs typeface="+mn-cs"/>
              </a:rPr>
              <a:t> Virus (MPXV) has two known clades</a:t>
            </a:r>
          </a:p>
          <a:p>
            <a:pPr marL="742950" lvl="1" indent="-285750">
              <a:buFont typeface="Arial" panose="020B0604020202020204" pitchFamily="34" charset="0"/>
              <a:buChar char="•"/>
            </a:pPr>
            <a:r>
              <a:rPr lang="en-US" sz="2000" b="1">
                <a:solidFill>
                  <a:prstClr val="black"/>
                </a:solidFill>
                <a:latin typeface="Calibri" panose="020F0502020204030204"/>
              </a:rPr>
              <a:t>The current outbreak in the DRC is Clade I </a:t>
            </a:r>
            <a:r>
              <a:rPr lang="en-US" sz="2000">
                <a:solidFill>
                  <a:prstClr val="black"/>
                </a:solidFill>
                <a:latin typeface="Calibri" panose="020F0502020204030204"/>
              </a:rPr>
              <a:t>(formerly known as the Congo Basin or Central African clade) </a:t>
            </a:r>
          </a:p>
          <a:p>
            <a:pPr marL="742950" lvl="1" indent="-285750">
              <a:buFont typeface="Arial" panose="020B0604020202020204" pitchFamily="34" charset="0"/>
              <a:buChar char="•"/>
            </a:pPr>
            <a:r>
              <a:rPr kumimoji="0" lang="en-US" sz="2000" b="0" u="none" strike="noStrike" kern="1200" cap="none" spc="0" normalizeH="0" baseline="0" noProof="0">
                <a:ln>
                  <a:noFill/>
                </a:ln>
                <a:solidFill>
                  <a:prstClr val="black"/>
                </a:solidFill>
                <a:effectLst/>
                <a:uLnTx/>
                <a:uFillTx/>
                <a:latin typeface="Calibri" panose="020F0502020204030204"/>
                <a:ea typeface="+mn-ea"/>
                <a:cs typeface="+mn-cs"/>
              </a:rPr>
              <a:t>The 2022 global outbreak was Clade II (formerly known as the West African clade) </a:t>
            </a:r>
          </a:p>
          <a:p>
            <a:pPr marL="285750" indent="-285750">
              <a:buFont typeface="Arial" panose="020B0604020202020204" pitchFamily="34" charset="0"/>
              <a:buChar char="•"/>
            </a:pPr>
            <a:endParaRPr kumimoji="0" lang="en-US" sz="2000" b="1"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endParaRPr>
          </a:p>
          <a:p>
            <a:pPr marL="285750" indent="-285750">
              <a:buFont typeface="Arial" panose="020B0604020202020204" pitchFamily="34" charset="0"/>
              <a:buChar char="•"/>
            </a:pPr>
            <a:r>
              <a:rPr kumimoji="0" lang="en-US" sz="2000" b="1"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Clade I MPX</a:t>
            </a:r>
            <a:r>
              <a:rPr lang="en-US" sz="2000" b="1">
                <a:solidFill>
                  <a:prstClr val="black"/>
                </a:solidFill>
                <a:latin typeface="Calibri" panose="020F0502020204030204"/>
                <a:sym typeface="Wingdings" panose="05000000000000000000" pitchFamily="2" charset="2"/>
              </a:rPr>
              <a:t>V is known to be more severe, </a:t>
            </a:r>
            <a:r>
              <a:rPr lang="en-US" sz="2000">
                <a:solidFill>
                  <a:prstClr val="black"/>
                </a:solidFill>
                <a:latin typeface="Calibri" panose="020F0502020204030204"/>
                <a:sym typeface="Wingdings" panose="05000000000000000000" pitchFamily="2" charset="2"/>
              </a:rPr>
              <a:t>with</a:t>
            </a:r>
            <a:r>
              <a:rPr lang="en-US" sz="2000" b="1">
                <a:solidFill>
                  <a:prstClr val="black"/>
                </a:solidFill>
                <a:latin typeface="Calibri" panose="020F0502020204030204"/>
                <a:sym typeface="Wingdings" panose="05000000000000000000" pitchFamily="2" charset="2"/>
              </a:rPr>
              <a:t>:</a:t>
            </a:r>
          </a:p>
          <a:p>
            <a:pPr marL="742950" lvl="1" indent="-285750">
              <a:buFont typeface="Arial" panose="020B0604020202020204" pitchFamily="34" charset="0"/>
              <a:buChar char="•"/>
            </a:pPr>
            <a:r>
              <a:rPr kumimoji="0" lang="en-US" sz="2000" b="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Higher transmission rates</a:t>
            </a:r>
          </a:p>
          <a:p>
            <a:pPr marL="742950" lvl="1" indent="-285750">
              <a:buFont typeface="Arial" panose="020B0604020202020204" pitchFamily="34" charset="0"/>
              <a:buChar char="•"/>
            </a:pPr>
            <a:r>
              <a:rPr lang="en-US" sz="2000">
                <a:solidFill>
                  <a:prstClr val="black"/>
                </a:solidFill>
                <a:latin typeface="Calibri" panose="020F0502020204030204"/>
                <a:sym typeface="Wingdings" panose="05000000000000000000" pitchFamily="2" charset="2"/>
              </a:rPr>
              <a:t>Increased virulence</a:t>
            </a:r>
          </a:p>
          <a:p>
            <a:pPr marL="742950" lvl="1" indent="-285750">
              <a:buFont typeface="Arial" panose="020B0604020202020204" pitchFamily="34" charset="0"/>
              <a:buChar char="•"/>
            </a:pPr>
            <a:r>
              <a:rPr kumimoji="0" lang="en-US" sz="2000" b="0" u="none" strike="noStrike" kern="1200" cap="none" spc="0" normalizeH="0" baseline="0" noProof="0">
                <a:ln>
                  <a:noFill/>
                </a:ln>
                <a:solidFill>
                  <a:prstClr val="black"/>
                </a:solidFill>
                <a:effectLst/>
                <a:uLnTx/>
                <a:uFillTx/>
                <a:latin typeface="Calibri" panose="020F0502020204030204"/>
                <a:ea typeface="+mn-ea"/>
                <a:cs typeface="+mn-cs"/>
                <a:sym typeface="Wingdings" panose="05000000000000000000" pitchFamily="2" charset="2"/>
              </a:rPr>
              <a:t>Greater potential for complications </a:t>
            </a:r>
          </a:p>
          <a:p>
            <a:pPr marL="285750" indent="-285750">
              <a:buFont typeface="Arial" panose="020B0604020202020204" pitchFamily="34" charset="0"/>
              <a:buChar char="•"/>
            </a:pPr>
            <a:endParaRPr lang="en-US" sz="2000" b="1">
              <a:solidFill>
                <a:prstClr val="black"/>
              </a:solidFill>
              <a:latin typeface="Calibri" panose="020F0502020204030204"/>
              <a:sym typeface="Wingdings" panose="05000000000000000000" pitchFamily="2" charset="2"/>
            </a:endParaRPr>
          </a:p>
          <a:p>
            <a:pPr marL="285750" indent="-285750">
              <a:buFont typeface="Arial" panose="020B0604020202020204" pitchFamily="34" charset="0"/>
              <a:buChar char="•"/>
            </a:pPr>
            <a:r>
              <a:rPr lang="en-US" sz="2000" b="1">
                <a:solidFill>
                  <a:prstClr val="black"/>
                </a:solidFill>
                <a:latin typeface="Calibri" panose="020F0502020204030204"/>
                <a:sym typeface="Wingdings" panose="05000000000000000000" pitchFamily="2" charset="2"/>
              </a:rPr>
              <a:t>Clade 1 MPXV waste is classified as Category A</a:t>
            </a:r>
            <a:r>
              <a:rPr lang="en-US" sz="2000">
                <a:solidFill>
                  <a:prstClr val="black"/>
                </a:solidFill>
                <a:latin typeface="Calibri" panose="020F0502020204030204"/>
                <a:sym typeface="Wingdings" panose="05000000000000000000" pitchFamily="2" charset="2"/>
              </a:rPr>
              <a:t> infectious substance</a:t>
            </a:r>
            <a:endParaRPr kumimoji="0" lang="en-US" b="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ince January 2023, there have been a total of 12,000+ suspected </a:t>
            </a:r>
            <a:r>
              <a:rPr kumimoji="0" lang="en-US" sz="1400" b="0" i="1" u="none" strike="noStrike" kern="1200" cap="none" spc="0" normalizeH="0" baseline="0" noProof="0" err="1">
                <a:ln>
                  <a:noFill/>
                </a:ln>
                <a:solidFill>
                  <a:prstClr val="black"/>
                </a:solidFill>
                <a:effectLst/>
                <a:uLnTx/>
                <a:uFillTx/>
                <a:latin typeface="Calibri" panose="020F0502020204030204"/>
                <a:ea typeface="+mn-ea"/>
                <a:cs typeface="+mn-cs"/>
              </a:rPr>
              <a:t>mpox</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 cases in the DRC with a case fatality rate of 4.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A1FEF25E-3783-3636-DE40-21CB280D1B7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96001" y="2035793"/>
            <a:ext cx="5905538" cy="3351455"/>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729179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err="1">
                <a:ln>
                  <a:noFill/>
                </a:ln>
                <a:solidFill>
                  <a:sysClr val="windowText" lastClr="000000"/>
                </a:solidFill>
                <a:effectLst/>
                <a:uLnTx/>
                <a:uFillTx/>
                <a:latin typeface="Calibri" panose="020F0502020204030204" pitchFamily="34" charset="0"/>
                <a:ea typeface="+mj-ea"/>
                <a:cs typeface="Calibri" panose="020F0502020204030204" pitchFamily="34" charset="0"/>
              </a:rPr>
              <a:t>Mpox</a:t>
            </a: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 Symptoms and Clinical Presentation </a:t>
            </a:r>
          </a:p>
        </p:txBody>
      </p:sp>
      <p:sp>
        <p:nvSpPr>
          <p:cNvPr id="4" name="TextBox 3">
            <a:extLst>
              <a:ext uri="{FF2B5EF4-FFF2-40B4-BE49-F238E27FC236}">
                <a16:creationId xmlns:a16="http://schemas.microsoft.com/office/drawing/2014/main" id="{00BAD554-4BA6-9B46-C0DC-B4131B2F0143}"/>
              </a:ext>
            </a:extLst>
          </p:cNvPr>
          <p:cNvSpPr txBox="1"/>
          <p:nvPr/>
        </p:nvSpPr>
        <p:spPr>
          <a:xfrm>
            <a:off x="603058" y="1247209"/>
            <a:ext cx="6372561" cy="4708981"/>
          </a:xfrm>
          <a:prstGeom prst="rect">
            <a:avLst/>
          </a:prstGeom>
          <a:noFill/>
        </p:spPr>
        <p:txBody>
          <a:bodyPr wrap="square" rtlCol="0">
            <a:spAutoFit/>
          </a:bodyPr>
          <a:lstStyle/>
          <a:p>
            <a:pPr marL="0" marR="0" lvl="0" indent="0" algn="l" defTabSz="914400" rtl="0" eaLnBrk="1" fontAlgn="auto" latinLnBrk="0" hangingPunct="1">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Symptoms and Clinical Presentation:</a:t>
            </a:r>
          </a:p>
          <a:p>
            <a:pPr marL="742950" lvl="1" indent="-285750">
              <a:buFont typeface="Arial" panose="020B0604020202020204" pitchFamily="34" charset="0"/>
              <a:buChar char="•"/>
              <a:defRPr/>
            </a:pPr>
            <a:r>
              <a:rPr lang="en-US" sz="2000">
                <a:solidFill>
                  <a:prstClr val="black"/>
                </a:solidFill>
                <a:latin typeface="Calibri" panose="020F0502020204030204"/>
              </a:rPr>
              <a:t>Fever/chills, headache, muscle aches backache, exhaustion, and swollen lymph nodes.</a:t>
            </a:r>
          </a:p>
          <a:p>
            <a:pPr marL="742950" lvl="1" indent="-285750">
              <a:buFont typeface="Arial" panose="020B0604020202020204" pitchFamily="34" charset="0"/>
              <a:buChar char="•"/>
              <a:defRPr/>
            </a:pPr>
            <a:r>
              <a:rPr lang="en-US" sz="2000">
                <a:solidFill>
                  <a:prstClr val="black"/>
                </a:solidFill>
                <a:latin typeface="Calibri" panose="020F0502020204030204"/>
              </a:rPr>
              <a:t>Rash or lesions may appear 1-4 days after initial symptoms as pimples or blisters on the face, inside mouth, hands, feet, chest, genitals, or anus.</a:t>
            </a:r>
          </a:p>
          <a:p>
            <a:pPr>
              <a:defRPr/>
            </a:pPr>
            <a:endParaRPr lang="en-US" sz="2000" b="1">
              <a:solidFill>
                <a:prstClr val="black"/>
              </a:solidFill>
              <a:latin typeface="Calibri" panose="020F0502020204030204"/>
            </a:endParaRPr>
          </a:p>
          <a:p>
            <a:pPr>
              <a:defRPr/>
            </a:pPr>
            <a:r>
              <a:rPr lang="en-US" sz="2000" b="1">
                <a:solidFill>
                  <a:prstClr val="black"/>
                </a:solidFill>
                <a:latin typeface="Calibri" panose="020F0502020204030204"/>
              </a:rPr>
              <a:t>Atypical presentation has been reported:</a:t>
            </a:r>
          </a:p>
          <a:p>
            <a:pPr marL="742950" lvl="1" indent="-285750">
              <a:buFont typeface="Arial" panose="020B0604020202020204" pitchFamily="34" charset="0"/>
              <a:buChar char="•"/>
              <a:defRPr/>
            </a:pPr>
            <a:r>
              <a:rPr lang="en-US" sz="2000">
                <a:solidFill>
                  <a:prstClr val="black"/>
                </a:solidFill>
                <a:latin typeface="Calibri" panose="020F0502020204030204"/>
              </a:rPr>
              <a:t>Rash beginning in mucosal, genital or perianal areas</a:t>
            </a:r>
          </a:p>
          <a:p>
            <a:pPr marL="742950" lvl="1" indent="-285750">
              <a:buFont typeface="Arial" panose="020B0604020202020204" pitchFamily="34" charset="0"/>
              <a:buChar char="•"/>
              <a:defRPr/>
            </a:pPr>
            <a:r>
              <a:rPr lang="en-US" sz="2000">
                <a:solidFill>
                  <a:prstClr val="black"/>
                </a:solidFill>
                <a:latin typeface="Calibri" panose="020F0502020204030204"/>
              </a:rPr>
              <a:t>Lesions may be localized to specific body site</a:t>
            </a:r>
          </a:p>
          <a:p>
            <a:pPr marL="742950" lvl="1" indent="-285750">
              <a:buFont typeface="Arial" panose="020B0604020202020204" pitchFamily="34" charset="0"/>
              <a:buChar char="•"/>
              <a:defRPr/>
            </a:pPr>
            <a:r>
              <a:rPr lang="en-US" sz="2000">
                <a:solidFill>
                  <a:prstClr val="black"/>
                </a:solidFill>
                <a:latin typeface="Calibri" panose="020F0502020204030204"/>
              </a:rPr>
              <a:t>Symptoms such as anorectal pain, tenesmus, and rectal bleeding</a:t>
            </a:r>
          </a:p>
          <a:p>
            <a:pPr marL="742950" lvl="1" indent="-285750">
              <a:buFont typeface="Arial" panose="020B0604020202020204" pitchFamily="34" charset="0"/>
              <a:buChar char="•"/>
              <a:defRPr/>
            </a:pPr>
            <a:r>
              <a:rPr lang="en-US" sz="2000">
                <a:solidFill>
                  <a:prstClr val="black"/>
                </a:solidFill>
                <a:latin typeface="Calibri" panose="020F0502020204030204"/>
              </a:rPr>
              <a:t>Rash presentation similar to varicella or some STIs, such as syphilis, herpes, or other etiologies of proctitis</a:t>
            </a:r>
          </a:p>
        </p:txBody>
      </p:sp>
      <p:sp>
        <p:nvSpPr>
          <p:cNvPr id="3" name="Rectangle 2">
            <a:extLst>
              <a:ext uri="{FF2B5EF4-FFF2-40B4-BE49-F238E27FC236}">
                <a16:creationId xmlns:a16="http://schemas.microsoft.com/office/drawing/2014/main" id="{014727E0-C44F-A068-19B7-3ED352132C7B}"/>
              </a:ext>
            </a:extLst>
          </p:cNvPr>
          <p:cNvSpPr/>
          <p:nvPr/>
        </p:nvSpPr>
        <p:spPr>
          <a:xfrm>
            <a:off x="7633656" y="2644900"/>
            <a:ext cx="4294868" cy="2739913"/>
          </a:xfrm>
          <a:prstGeom prst="rect">
            <a:avLst/>
          </a:prstGeom>
          <a:solidFill>
            <a:srgbClr val="E9EBF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Mpox initially presents with flu-like symptoms</a:t>
            </a:r>
          </a:p>
        </p:txBody>
      </p:sp>
      <p:pic>
        <p:nvPicPr>
          <p:cNvPr id="2" name="Picture 1">
            <a:extLst>
              <a:ext uri="{FF2B5EF4-FFF2-40B4-BE49-F238E27FC236}">
                <a16:creationId xmlns:a16="http://schemas.microsoft.com/office/drawing/2014/main" id="{1575FC3A-2CED-5A89-F1C8-7E1A5F77CD04}"/>
              </a:ext>
            </a:extLst>
          </p:cNvPr>
          <p:cNvPicPr>
            <a:picLocks noChangeAspect="1"/>
          </p:cNvPicPr>
          <p:nvPr/>
        </p:nvPicPr>
        <p:blipFill>
          <a:blip r:embed="rId3"/>
          <a:stretch>
            <a:fillRect/>
          </a:stretch>
        </p:blipFill>
        <p:spPr>
          <a:xfrm>
            <a:off x="7315200" y="2251754"/>
            <a:ext cx="4273743" cy="284750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408108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35BAE-7ABE-4A71-9AB3-7CCD18270BCD}"/>
              </a:ext>
            </a:extLst>
          </p:cNvPr>
          <p:cNvSpPr>
            <a:spLocks noGrp="1"/>
          </p:cNvSpPr>
          <p:nvPr>
            <p:ph type="sldNum" sz="quarter" idx="12"/>
          </p:nvPr>
        </p:nvSpPr>
        <p:spPr/>
        <p:txBody>
          <a:bodyPr/>
          <a:lstStyle/>
          <a:p>
            <a:fld id="{77F4BF5D-8F9B-407A-AC8F-1C7206B5B534}" type="slidenum">
              <a:rPr lang="en-US" smtClean="0"/>
              <a:t>12</a:t>
            </a:fld>
            <a:endParaRPr lang="en-US"/>
          </a:p>
        </p:txBody>
      </p:sp>
      <p:sp>
        <p:nvSpPr>
          <p:cNvPr id="24" name="Title 3">
            <a:extLst>
              <a:ext uri="{FF2B5EF4-FFF2-40B4-BE49-F238E27FC236}">
                <a16:creationId xmlns:a16="http://schemas.microsoft.com/office/drawing/2014/main" id="{964923DB-2256-419B-A063-3239D1FC888E}"/>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a:defRPr/>
            </a:pPr>
            <a:r>
              <a:rPr lang="en-US">
                <a:solidFill>
                  <a:sysClr val="windowText" lastClr="000000"/>
                </a:solidFill>
                <a:latin typeface="+mn-lt"/>
                <a:cs typeface="Arial" panose="020B0604020202020204" pitchFamily="34" charset="0"/>
              </a:rPr>
              <a:t>Trivia #1</a:t>
            </a:r>
          </a:p>
        </p:txBody>
      </p:sp>
      <p:pic>
        <p:nvPicPr>
          <p:cNvPr id="26" name="Picture 25">
            <a:extLst>
              <a:ext uri="{FF2B5EF4-FFF2-40B4-BE49-F238E27FC236}">
                <a16:creationId xmlns:a16="http://schemas.microsoft.com/office/drawing/2014/main" id="{A2E44B7A-42C4-73C2-7C53-BABF50439C4F}"/>
              </a:ext>
            </a:extLst>
          </p:cNvPr>
          <p:cNvPicPr>
            <a:picLocks noChangeAspect="1"/>
          </p:cNvPicPr>
          <p:nvPr/>
        </p:nvPicPr>
        <p:blipFill rotWithShape="1">
          <a:blip r:embed="rId2">
            <a:extLst>
              <a:ext uri="{28A0092B-C50C-407E-A947-70E740481C1C}">
                <a14:useLocalDpi xmlns:a14="http://schemas.microsoft.com/office/drawing/2010/main" val="0"/>
              </a:ext>
            </a:extLst>
          </a:blip>
          <a:srcRect l="31595" r="1767"/>
          <a:stretch/>
        </p:blipFill>
        <p:spPr>
          <a:xfrm>
            <a:off x="6747834" y="1513839"/>
            <a:ext cx="3830320" cy="3830320"/>
          </a:xfrm>
          <a:prstGeom prst="ellipse">
            <a:avLst/>
          </a:prstGeom>
          <a:ln w="63500" cap="rnd">
            <a:noFill/>
          </a:ln>
          <a:effectLst>
            <a:outerShdw blurRad="381000" dist="292100" dir="5400000" sx="-80000" sy="-18000" rotWithShape="0">
              <a:srgbClr val="000000">
                <a:alpha val="22000"/>
              </a:srgbClr>
            </a:outerShdw>
          </a:effectLst>
        </p:spPr>
      </p:pic>
      <p:sp>
        <p:nvSpPr>
          <p:cNvPr id="3" name="TextBox 2">
            <a:extLst>
              <a:ext uri="{FF2B5EF4-FFF2-40B4-BE49-F238E27FC236}">
                <a16:creationId xmlns:a16="http://schemas.microsoft.com/office/drawing/2014/main" id="{802F4057-D21A-82FD-C579-A946465549FD}"/>
              </a:ext>
            </a:extLst>
          </p:cNvPr>
          <p:cNvSpPr txBox="1"/>
          <p:nvPr/>
        </p:nvSpPr>
        <p:spPr>
          <a:xfrm>
            <a:off x="617633" y="1270029"/>
            <a:ext cx="5706049" cy="427809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1E428A"/>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Which of the following is NOT a typical symptom of Clade I </a:t>
            </a:r>
            <a:r>
              <a:rPr kumimoji="0" lang="en-US" sz="3200" b="1" i="0" u="none" strike="noStrike" kern="1200" cap="none" spc="0" normalizeH="0" baseline="0" noProof="0" err="1">
                <a:ln>
                  <a:noFill/>
                </a:ln>
                <a:solidFill>
                  <a:srgbClr val="1E428A"/>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mpox</a:t>
            </a:r>
            <a:r>
              <a:rPr kumimoji="0" lang="en-US" sz="3200" b="1" i="0" u="none" strike="noStrike" kern="1200" cap="none" spc="0" normalizeH="0" baseline="0" noProof="0">
                <a:ln>
                  <a:noFill/>
                </a:ln>
                <a:solidFill>
                  <a:srgbClr val="1E428A"/>
                </a:solidFill>
                <a:effectLst>
                  <a:outerShdw blurRad="38100" dist="38100" dir="2700000" algn="tl">
                    <a:srgbClr val="000000">
                      <a:alpha val="43137"/>
                    </a:srgbClr>
                  </a:outerShdw>
                </a:effectLst>
                <a:uLnTx/>
                <a:uFillTx/>
                <a:latin typeface="Arial" panose="020B0604020202020204" pitchFamily="34" charset="0"/>
                <a:ea typeface="+mn-ea"/>
                <a:cs typeface="Arial" panose="020B0604020202020204" pitchFamily="34" charset="0"/>
              </a:rPr>
              <a:t>? </a:t>
            </a:r>
          </a:p>
          <a:p>
            <a:pPr marL="800100" marR="0" lvl="1" indent="-342900" algn="l" defTabSz="914400" rtl="0" eaLnBrk="1" fontAlgn="auto" latinLnBrk="0" hangingPunct="1">
              <a:lnSpc>
                <a:spcPct val="200000"/>
              </a:lnSpc>
              <a:spcBef>
                <a:spcPts val="600"/>
              </a:spcBef>
              <a:spcAft>
                <a:spcPts val="0"/>
              </a:spcAft>
              <a:buClrTx/>
              <a:buSzTx/>
              <a:buFont typeface="+mj-lt"/>
              <a:buAutoNum type="alphaUcPeriod"/>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ever/Chills</a:t>
            </a:r>
          </a:p>
          <a:p>
            <a:pPr marL="800100" marR="0" lvl="1" indent="-342900" algn="l" defTabSz="914400" rtl="0" eaLnBrk="1" fontAlgn="auto" latinLnBrk="0" hangingPunct="1">
              <a:lnSpc>
                <a:spcPct val="200000"/>
              </a:lnSpc>
              <a:spcBef>
                <a:spcPts val="600"/>
              </a:spcBef>
              <a:spcAft>
                <a:spcPts val="0"/>
              </a:spcAft>
              <a:buClrTx/>
              <a:buSzTx/>
              <a:buFont typeface="+mj-lt"/>
              <a:buAutoNum type="alphaUcPeriod"/>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sh or lesions</a:t>
            </a:r>
          </a:p>
          <a:p>
            <a:pPr marL="800100" marR="0" lvl="1" indent="-342900" algn="l" defTabSz="914400" rtl="0" eaLnBrk="1" fontAlgn="auto" latinLnBrk="0" hangingPunct="1">
              <a:lnSpc>
                <a:spcPct val="200000"/>
              </a:lnSpc>
              <a:spcBef>
                <a:spcPts val="600"/>
              </a:spcBef>
              <a:spcAft>
                <a:spcPts val="0"/>
              </a:spcAft>
              <a:buClrTx/>
              <a:buSzTx/>
              <a:buFont typeface="+mj-lt"/>
              <a:buAutoNum type="alphaUcPeriod"/>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iarrhea</a:t>
            </a:r>
          </a:p>
          <a:p>
            <a:pPr marL="800100" marR="0" lvl="1" indent="-342900" algn="l" defTabSz="914400" rtl="0" eaLnBrk="1" fontAlgn="auto" latinLnBrk="0" hangingPunct="1">
              <a:lnSpc>
                <a:spcPct val="200000"/>
              </a:lnSpc>
              <a:spcBef>
                <a:spcPts val="600"/>
              </a:spcBef>
              <a:spcAft>
                <a:spcPts val="0"/>
              </a:spcAft>
              <a:buClrTx/>
              <a:buSzTx/>
              <a:buFont typeface="+mj-lt"/>
              <a:buAutoNum type="alphaUcPeriod"/>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haustion</a:t>
            </a:r>
          </a:p>
          <a:p>
            <a:pPr>
              <a:defRPr/>
            </a:pPr>
            <a:endPar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40BFFC17-E4F6-166F-F7FD-C6B538F1F1A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212775" y="572508"/>
            <a:ext cx="723182" cy="719671"/>
          </a:xfrm>
          <a:prstGeom prst="rect">
            <a:avLst/>
          </a:prstGeom>
        </p:spPr>
      </p:pic>
      <p:sp>
        <p:nvSpPr>
          <p:cNvPr id="7" name="TextBox 6">
            <a:extLst>
              <a:ext uri="{FF2B5EF4-FFF2-40B4-BE49-F238E27FC236}">
                <a16:creationId xmlns:a16="http://schemas.microsoft.com/office/drawing/2014/main" id="{8C33347B-40DD-EEB0-5F6D-1F64A1D804E9}"/>
              </a:ext>
            </a:extLst>
          </p:cNvPr>
          <p:cNvSpPr txBox="1"/>
          <p:nvPr/>
        </p:nvSpPr>
        <p:spPr>
          <a:xfrm>
            <a:off x="10885322" y="1242893"/>
            <a:ext cx="13780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can to answer</a:t>
            </a:r>
          </a:p>
        </p:txBody>
      </p:sp>
      <p:pic>
        <p:nvPicPr>
          <p:cNvPr id="9" name="Graphic 8" descr="Checkmark with solid fill">
            <a:extLst>
              <a:ext uri="{FF2B5EF4-FFF2-40B4-BE49-F238E27FC236}">
                <a16:creationId xmlns:a16="http://schemas.microsoft.com/office/drawing/2014/main" id="{8A74B14F-749B-8CFE-D1F4-8C8C616D6F3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9872" y="4156114"/>
            <a:ext cx="457200" cy="457200"/>
          </a:xfrm>
          <a:prstGeom prst="rect">
            <a:avLst/>
          </a:prstGeom>
        </p:spPr>
      </p:pic>
    </p:spTree>
    <p:extLst>
      <p:ext uri="{BB962C8B-B14F-4D97-AF65-F5344CB8AC3E}">
        <p14:creationId xmlns:p14="http://schemas.microsoft.com/office/powerpoint/2010/main" val="402946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CDC and NETEC Guidance</a:t>
            </a:r>
          </a:p>
        </p:txBody>
      </p:sp>
      <p:sp>
        <p:nvSpPr>
          <p:cNvPr id="4" name="TextBox 3">
            <a:extLst>
              <a:ext uri="{FF2B5EF4-FFF2-40B4-BE49-F238E27FC236}">
                <a16:creationId xmlns:a16="http://schemas.microsoft.com/office/drawing/2014/main" id="{00BAD554-4BA6-9B46-C0DC-B4131B2F0143}"/>
              </a:ext>
            </a:extLst>
          </p:cNvPr>
          <p:cNvSpPr txBox="1"/>
          <p:nvPr/>
        </p:nvSpPr>
        <p:spPr>
          <a:xfrm>
            <a:off x="603057" y="1247209"/>
            <a:ext cx="5897026" cy="53873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hlinkClick r:id="rId3"/>
              </a:rPr>
              <a:t>CDC Guidance </a:t>
            </a: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as of December 7</a:t>
            </a:r>
            <a:r>
              <a:rPr kumimoji="0" lang="en-US" sz="2000" b="1" i="0" u="none" strike="noStrike" kern="1200" cap="none" spc="0" normalizeH="0" baseline="30000" noProof="0">
                <a:ln>
                  <a:noFill/>
                </a:ln>
                <a:solidFill>
                  <a:prstClr val="black"/>
                </a:solidFill>
                <a:effectLst/>
                <a:uLnTx/>
                <a:uFillTx/>
                <a:latin typeface="Calibri" panose="020F0502020204030204"/>
                <a:ea typeface="+mn-ea"/>
                <a:cs typeface="+mn-cs"/>
              </a:rPr>
              <a:t>th</a:t>
            </a: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 </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a:solidFill>
                  <a:prstClr val="black"/>
                </a:solidFill>
                <a:latin typeface="Calibri" panose="020F0502020204030204"/>
              </a:rPr>
              <a:t>Alert state/jurisdictional departments of health</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a:solidFill>
                  <a:prstClr val="black"/>
                </a:solidFill>
                <a:latin typeface="Calibri" panose="020F0502020204030204"/>
              </a:rPr>
              <a:t>Submit lesion specimens for testing</a:t>
            </a:r>
          </a:p>
          <a:p>
            <a:pPr marL="285750" indent="-285750">
              <a:buFont typeface="Arial" panose="020B0604020202020204" pitchFamily="34" charset="0"/>
              <a:buChar char="•"/>
              <a:defRPr/>
            </a:pPr>
            <a:r>
              <a:rPr kumimoji="0" lang="en-US" sz="2000" u="none" strike="noStrike" kern="1200" cap="none" spc="0" normalizeH="0" baseline="0" noProof="0" err="1">
                <a:ln>
                  <a:noFill/>
                </a:ln>
                <a:solidFill>
                  <a:prstClr val="black"/>
                </a:solidFill>
                <a:effectLst/>
                <a:uLnTx/>
                <a:uFillTx/>
                <a:latin typeface="Calibri" panose="020F0502020204030204"/>
                <a:ea typeface="+mn-ea"/>
                <a:cs typeface="+mn-cs"/>
                <a:hlinkClick r:id="rId4"/>
              </a:rPr>
              <a:t>Mpox</a:t>
            </a:r>
            <a:r>
              <a:rPr kumimoji="0" lang="en-US" sz="2000" u="none" strike="noStrike" kern="1200" cap="none" spc="0" normalizeH="0" baseline="0" noProof="0">
                <a:ln>
                  <a:noFill/>
                </a:ln>
                <a:solidFill>
                  <a:prstClr val="black"/>
                </a:solidFill>
                <a:effectLst/>
                <a:uLnTx/>
                <a:uFillTx/>
                <a:latin typeface="Calibri" panose="020F0502020204030204"/>
                <a:ea typeface="+mn-ea"/>
                <a:cs typeface="+mn-cs"/>
                <a:hlinkClick r:id="rId4"/>
              </a:rPr>
              <a:t> Category A waste management guidance</a:t>
            </a:r>
            <a:endParaRPr lang="en-US" sz="2000">
              <a:solidFill>
                <a:prstClr val="black"/>
              </a:solidFill>
              <a:latin typeface="Calibri" panose="020F0502020204030204"/>
            </a:endParaRPr>
          </a:p>
          <a:p>
            <a:pPr marR="0" lvl="0" algn="l" defTabSz="914400" rtl="0" eaLnBrk="1" fontAlgn="auto" latinLnBrk="0" hangingPunct="1">
              <a:lnSpc>
                <a:spcPct val="150000"/>
              </a:lnSpc>
              <a:spcBef>
                <a:spcPts val="0"/>
              </a:spcBef>
              <a:spcAft>
                <a:spcPts val="0"/>
              </a:spcAft>
              <a:buClrTx/>
              <a:buSzTx/>
              <a:tabLst/>
              <a:defRPr/>
            </a:pPr>
            <a:endParaRPr lang="en-US" sz="2000" b="1">
              <a:solidFill>
                <a:prstClr val="black"/>
              </a:solidFill>
              <a:latin typeface="Calibri" panose="020F0502020204030204"/>
            </a:endParaRPr>
          </a:p>
          <a:p>
            <a:pPr marR="0" lvl="0" algn="l" defTabSz="914400" rtl="0" eaLnBrk="1" fontAlgn="auto" latinLnBrk="0" hangingPunct="1">
              <a:lnSpc>
                <a:spcPct val="150000"/>
              </a:lnSpc>
              <a:spcBef>
                <a:spcPts val="0"/>
              </a:spcBef>
              <a:spcAft>
                <a:spcPts val="0"/>
              </a:spcAft>
              <a:buClrTx/>
              <a:buSzTx/>
              <a:tabLst/>
              <a:defRPr/>
            </a:pPr>
            <a:r>
              <a:rPr lang="en-US" sz="2000" b="1">
                <a:solidFill>
                  <a:prstClr val="black"/>
                </a:solidFill>
                <a:latin typeface="Calibri" panose="020F0502020204030204"/>
              </a:rPr>
              <a:t>Vaccines and Medical Countermeasures</a:t>
            </a:r>
          </a:p>
          <a:p>
            <a:pPr marL="285750" indent="-285750">
              <a:buFont typeface="Arial" panose="020B0604020202020204" pitchFamily="34" charset="0"/>
              <a:buChar char="•"/>
              <a:defRPr/>
            </a:pPr>
            <a:r>
              <a:rPr lang="en-US" sz="2000">
                <a:solidFill>
                  <a:prstClr val="black"/>
                </a:solidFill>
                <a:latin typeface="Calibri" panose="020F0502020204030204"/>
              </a:rPr>
              <a:t>Vaccines (e.g., JYNNEOS)  and medical countermeasures (e.g., tecovirimat, </a:t>
            </a:r>
            <a:r>
              <a:rPr lang="en-US" sz="2000" err="1">
                <a:solidFill>
                  <a:prstClr val="black"/>
                </a:solidFill>
                <a:latin typeface="Calibri" panose="020F0502020204030204"/>
              </a:rPr>
              <a:t>brincidofovir</a:t>
            </a:r>
            <a:r>
              <a:rPr lang="en-US" sz="2000">
                <a:solidFill>
                  <a:prstClr val="black"/>
                </a:solidFill>
                <a:latin typeface="Calibri" panose="020F0502020204030204"/>
              </a:rPr>
              <a:t>, and vaccinia globulin intravenous) are available and are expected to be effective for both clades</a:t>
            </a:r>
          </a:p>
          <a:p>
            <a:pPr marL="285750" indent="-285750">
              <a:buFont typeface="Arial" panose="020B0604020202020204" pitchFamily="34" charset="0"/>
              <a:buChar char="•"/>
              <a:defRPr/>
            </a:pPr>
            <a:endParaRPr lang="en-US" sz="2000">
              <a:solidFill>
                <a:prstClr val="black"/>
              </a:solidFill>
              <a:latin typeface="Calibri" panose="020F0502020204030204"/>
            </a:endParaRPr>
          </a:p>
          <a:p>
            <a:pPr>
              <a:defRPr/>
            </a:pPr>
            <a:r>
              <a:rPr lang="en-US" sz="2000" b="1">
                <a:solidFill>
                  <a:prstClr val="black"/>
                </a:solidFill>
                <a:latin typeface="Calibri" panose="020F0502020204030204"/>
              </a:rPr>
              <a:t>Proactive Outreach</a:t>
            </a:r>
          </a:p>
          <a:p>
            <a:pPr marL="342900" indent="-342900">
              <a:buFont typeface="Arial" panose="020B0604020202020204" pitchFamily="34" charset="0"/>
              <a:buChar char="•"/>
              <a:defRPr/>
            </a:pPr>
            <a:r>
              <a:rPr lang="en-US" sz="2000">
                <a:solidFill>
                  <a:prstClr val="black"/>
                </a:solidFill>
                <a:latin typeface="Calibri" panose="020F0502020204030204"/>
              </a:rPr>
              <a:t>Proactive outreach to at-risk communities is recommended</a:t>
            </a:r>
          </a:p>
          <a:p>
            <a:pPr marL="342900" indent="-342900">
              <a:buFont typeface="Arial" panose="020B0604020202020204" pitchFamily="34" charset="0"/>
              <a:buChar char="•"/>
              <a:defRPr/>
            </a:pPr>
            <a:endParaRPr lang="en-US" sz="2000">
              <a:solidFill>
                <a:prstClr val="black"/>
              </a:solidFill>
              <a:latin typeface="Calibri" panose="020F0502020204030204"/>
            </a:endParaRPr>
          </a:p>
          <a:p>
            <a:pPr marR="0" lvl="0" algn="l" defTabSz="914400" rtl="0" eaLnBrk="1" fontAlgn="auto" latinLnBrk="0" hangingPunct="1">
              <a:lnSpc>
                <a:spcPct val="200000"/>
              </a:lnSpc>
              <a:spcBef>
                <a:spcPts val="0"/>
              </a:spcBef>
              <a:spcAft>
                <a:spcPts val="0"/>
              </a:spcAft>
              <a:buClrTx/>
              <a:buSzTx/>
              <a:tabLst/>
              <a:defRPr/>
            </a:pP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The following guidance from the CDC and NETEC can support facilities</a:t>
            </a:r>
          </a:p>
        </p:txBody>
      </p:sp>
      <p:grpSp>
        <p:nvGrpSpPr>
          <p:cNvPr id="6" name="Graphic 4">
            <a:extLst>
              <a:ext uri="{FF2B5EF4-FFF2-40B4-BE49-F238E27FC236}">
                <a16:creationId xmlns:a16="http://schemas.microsoft.com/office/drawing/2014/main" id="{19234554-53C3-675A-70A5-3AC1D933339E}"/>
              </a:ext>
            </a:extLst>
          </p:cNvPr>
          <p:cNvGrpSpPr/>
          <p:nvPr/>
        </p:nvGrpSpPr>
        <p:grpSpPr>
          <a:xfrm>
            <a:off x="7759609" y="206407"/>
            <a:ext cx="1828800" cy="1828800"/>
            <a:chOff x="4661459" y="918179"/>
            <a:chExt cx="361674" cy="361333"/>
          </a:xfrm>
          <a:solidFill>
            <a:srgbClr val="1D4289"/>
          </a:solidFill>
        </p:grpSpPr>
        <p:sp>
          <p:nvSpPr>
            <p:cNvPr id="7" name="Graphic 4">
              <a:extLst>
                <a:ext uri="{FF2B5EF4-FFF2-40B4-BE49-F238E27FC236}">
                  <a16:creationId xmlns:a16="http://schemas.microsoft.com/office/drawing/2014/main" id="{2978BCF0-77CE-D75A-4F05-F9CB8F03EF1F}"/>
                </a:ext>
              </a:extLst>
            </p:cNvPr>
            <p:cNvSpPr/>
            <p:nvPr/>
          </p:nvSpPr>
          <p:spPr>
            <a:xfrm>
              <a:off x="4661459" y="918179"/>
              <a:ext cx="361674" cy="361333"/>
            </a:xfrm>
            <a:custGeom>
              <a:avLst/>
              <a:gdLst>
                <a:gd name="connsiteX0" fmla="*/ 180835 w 361674"/>
                <a:gd name="connsiteY0" fmla="*/ 349204 h 361333"/>
                <a:gd name="connsiteX1" fmla="*/ 12780 w 361674"/>
                <a:gd name="connsiteY1" fmla="*/ 181305 h 361333"/>
                <a:gd name="connsiteX2" fmla="*/ 180835 w 361674"/>
                <a:gd name="connsiteY2" fmla="*/ 13406 h 361333"/>
                <a:gd name="connsiteX3" fmla="*/ 348890 w 361674"/>
                <a:gd name="connsiteY3" fmla="*/ 181305 h 361333"/>
                <a:gd name="connsiteX4" fmla="*/ 180835 w 361674"/>
                <a:gd name="connsiteY4" fmla="*/ 349204 h 361333"/>
                <a:gd name="connsiteX5" fmla="*/ 180835 w 361674"/>
                <a:gd name="connsiteY5" fmla="*/ 0 h 361333"/>
                <a:gd name="connsiteX6" fmla="*/ 0 w 361674"/>
                <a:gd name="connsiteY6" fmla="*/ 180667 h 361333"/>
                <a:gd name="connsiteX7" fmla="*/ 180835 w 361674"/>
                <a:gd name="connsiteY7" fmla="*/ 361333 h 361333"/>
                <a:gd name="connsiteX8" fmla="*/ 361670 w 361674"/>
                <a:gd name="connsiteY8" fmla="*/ 180667 h 361333"/>
                <a:gd name="connsiteX9" fmla="*/ 180835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9530" y="273234"/>
                    <a:pt x="273489" y="349204"/>
                    <a:pt x="180835" y="349204"/>
                  </a:cubicBezTo>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path>
              </a:pathLst>
            </a:custGeom>
            <a:grpFill/>
            <a:ln w="6390" cap="flat">
              <a:noFill/>
              <a:prstDash val="solid"/>
              <a:miter/>
            </a:ln>
          </p:spPr>
          <p:txBody>
            <a:bodyPr rtlCol="0" anchor="ctr"/>
            <a:lstStyle/>
            <a:p>
              <a:endParaRPr lang="en-US"/>
            </a:p>
          </p:txBody>
        </p:sp>
        <p:sp>
          <p:nvSpPr>
            <p:cNvPr id="8" name="Graphic 4">
              <a:extLst>
                <a:ext uri="{FF2B5EF4-FFF2-40B4-BE49-F238E27FC236}">
                  <a16:creationId xmlns:a16="http://schemas.microsoft.com/office/drawing/2014/main" id="{735B58D0-DF28-7679-235A-AFBAF38BA6B2}"/>
                </a:ext>
              </a:extLst>
            </p:cNvPr>
            <p:cNvSpPr/>
            <p:nvPr/>
          </p:nvSpPr>
          <p:spPr>
            <a:xfrm>
              <a:off x="4766893" y="994787"/>
              <a:ext cx="150802" cy="206841"/>
            </a:xfrm>
            <a:custGeom>
              <a:avLst/>
              <a:gdLst>
                <a:gd name="connsiteX0" fmla="*/ 138022 w 150802"/>
                <a:gd name="connsiteY0" fmla="*/ 187689 h 206841"/>
                <a:gd name="connsiteX1" fmla="*/ 131633 w 150802"/>
                <a:gd name="connsiteY1" fmla="*/ 194073 h 206841"/>
                <a:gd name="connsiteX2" fmla="*/ 19170 w 150802"/>
                <a:gd name="connsiteY2" fmla="*/ 194073 h 206841"/>
                <a:gd name="connsiteX3" fmla="*/ 12780 w 150802"/>
                <a:gd name="connsiteY3" fmla="*/ 187689 h 206841"/>
                <a:gd name="connsiteX4" fmla="*/ 12780 w 150802"/>
                <a:gd name="connsiteY4" fmla="*/ 75331 h 206841"/>
                <a:gd name="connsiteX5" fmla="*/ 19170 w 150802"/>
                <a:gd name="connsiteY5" fmla="*/ 68947 h 206841"/>
                <a:gd name="connsiteX6" fmla="*/ 131633 w 150802"/>
                <a:gd name="connsiteY6" fmla="*/ 68947 h 206841"/>
                <a:gd name="connsiteX7" fmla="*/ 138022 w 150802"/>
                <a:gd name="connsiteY7" fmla="*/ 75331 h 206841"/>
                <a:gd name="connsiteX8" fmla="*/ 138022 w 150802"/>
                <a:gd name="connsiteY8" fmla="*/ 187689 h 206841"/>
                <a:gd name="connsiteX9" fmla="*/ 47286 w 150802"/>
                <a:gd name="connsiteY9" fmla="*/ 41496 h 206841"/>
                <a:gd name="connsiteX10" fmla="*/ 103517 w 150802"/>
                <a:gd name="connsiteY10" fmla="*/ 41496 h 206841"/>
                <a:gd name="connsiteX11" fmla="*/ 103517 w 150802"/>
                <a:gd name="connsiteY11" fmla="*/ 42134 h 206841"/>
                <a:gd name="connsiteX12" fmla="*/ 103517 w 150802"/>
                <a:gd name="connsiteY12" fmla="*/ 56179 h 206841"/>
                <a:gd name="connsiteX13" fmla="*/ 103517 w 150802"/>
                <a:gd name="connsiteY13" fmla="*/ 56818 h 206841"/>
                <a:gd name="connsiteX14" fmla="*/ 47286 w 150802"/>
                <a:gd name="connsiteY14" fmla="*/ 56818 h 206841"/>
                <a:gd name="connsiteX15" fmla="*/ 47286 w 150802"/>
                <a:gd name="connsiteY15" fmla="*/ 56179 h 206841"/>
                <a:gd name="connsiteX16" fmla="*/ 47286 w 150802"/>
                <a:gd name="connsiteY16" fmla="*/ 41496 h 206841"/>
                <a:gd name="connsiteX17" fmla="*/ 47286 w 150802"/>
                <a:gd name="connsiteY17" fmla="*/ 41496 h 206841"/>
                <a:gd name="connsiteX18" fmla="*/ 26838 w 150802"/>
                <a:gd name="connsiteY18" fmla="*/ 21706 h 206841"/>
                <a:gd name="connsiteX19" fmla="*/ 27477 w 150802"/>
                <a:gd name="connsiteY19" fmla="*/ 14045 h 206841"/>
                <a:gd name="connsiteX20" fmla="*/ 41535 w 150802"/>
                <a:gd name="connsiteY20" fmla="*/ 14045 h 206841"/>
                <a:gd name="connsiteX21" fmla="*/ 41535 w 150802"/>
                <a:gd name="connsiteY21" fmla="*/ 14683 h 206841"/>
                <a:gd name="connsiteX22" fmla="*/ 41535 w 150802"/>
                <a:gd name="connsiteY22" fmla="*/ 28728 h 206841"/>
                <a:gd name="connsiteX23" fmla="*/ 41535 w 150802"/>
                <a:gd name="connsiteY23" fmla="*/ 29366 h 206841"/>
                <a:gd name="connsiteX24" fmla="*/ 26838 w 150802"/>
                <a:gd name="connsiteY24" fmla="*/ 29366 h 206841"/>
                <a:gd name="connsiteX25" fmla="*/ 26838 w 150802"/>
                <a:gd name="connsiteY25" fmla="*/ 21706 h 206841"/>
                <a:gd name="connsiteX26" fmla="*/ 123965 w 150802"/>
                <a:gd name="connsiteY26" fmla="*/ 21706 h 206841"/>
                <a:gd name="connsiteX27" fmla="*/ 123965 w 150802"/>
                <a:gd name="connsiteY27" fmla="*/ 29366 h 206841"/>
                <a:gd name="connsiteX28" fmla="*/ 109268 w 150802"/>
                <a:gd name="connsiteY28" fmla="*/ 29366 h 206841"/>
                <a:gd name="connsiteX29" fmla="*/ 109268 w 150802"/>
                <a:gd name="connsiteY29" fmla="*/ 28728 h 206841"/>
                <a:gd name="connsiteX30" fmla="*/ 109268 w 150802"/>
                <a:gd name="connsiteY30" fmla="*/ 14683 h 206841"/>
                <a:gd name="connsiteX31" fmla="*/ 109268 w 150802"/>
                <a:gd name="connsiteY31" fmla="*/ 14045 h 206841"/>
                <a:gd name="connsiteX32" fmla="*/ 123326 w 150802"/>
                <a:gd name="connsiteY32" fmla="*/ 14045 h 206841"/>
                <a:gd name="connsiteX33" fmla="*/ 123965 w 150802"/>
                <a:gd name="connsiteY33" fmla="*/ 21706 h 206841"/>
                <a:gd name="connsiteX34" fmla="*/ 81791 w 150802"/>
                <a:gd name="connsiteY34" fmla="*/ 14045 h 206841"/>
                <a:gd name="connsiteX35" fmla="*/ 96488 w 150802"/>
                <a:gd name="connsiteY35" fmla="*/ 14045 h 206841"/>
                <a:gd name="connsiteX36" fmla="*/ 96488 w 150802"/>
                <a:gd name="connsiteY36" fmla="*/ 14683 h 206841"/>
                <a:gd name="connsiteX37" fmla="*/ 96488 w 150802"/>
                <a:gd name="connsiteY37" fmla="*/ 28728 h 206841"/>
                <a:gd name="connsiteX38" fmla="*/ 96488 w 150802"/>
                <a:gd name="connsiteY38" fmla="*/ 29366 h 206841"/>
                <a:gd name="connsiteX39" fmla="*/ 81791 w 150802"/>
                <a:gd name="connsiteY39" fmla="*/ 29366 h 206841"/>
                <a:gd name="connsiteX40" fmla="*/ 81791 w 150802"/>
                <a:gd name="connsiteY40" fmla="*/ 28728 h 206841"/>
                <a:gd name="connsiteX41" fmla="*/ 81791 w 150802"/>
                <a:gd name="connsiteY41" fmla="*/ 14045 h 206841"/>
                <a:gd name="connsiteX42" fmla="*/ 81791 w 150802"/>
                <a:gd name="connsiteY42" fmla="*/ 14045 h 206841"/>
                <a:gd name="connsiteX43" fmla="*/ 54314 w 150802"/>
                <a:gd name="connsiteY43" fmla="*/ 14045 h 206841"/>
                <a:gd name="connsiteX44" fmla="*/ 69011 w 150802"/>
                <a:gd name="connsiteY44" fmla="*/ 14045 h 206841"/>
                <a:gd name="connsiteX45" fmla="*/ 69011 w 150802"/>
                <a:gd name="connsiteY45" fmla="*/ 14683 h 206841"/>
                <a:gd name="connsiteX46" fmla="*/ 69011 w 150802"/>
                <a:gd name="connsiteY46" fmla="*/ 28728 h 206841"/>
                <a:gd name="connsiteX47" fmla="*/ 69011 w 150802"/>
                <a:gd name="connsiteY47" fmla="*/ 29366 h 206841"/>
                <a:gd name="connsiteX48" fmla="*/ 54314 w 150802"/>
                <a:gd name="connsiteY48" fmla="*/ 29366 h 206841"/>
                <a:gd name="connsiteX49" fmla="*/ 54314 w 150802"/>
                <a:gd name="connsiteY49" fmla="*/ 28728 h 206841"/>
                <a:gd name="connsiteX50" fmla="*/ 54314 w 150802"/>
                <a:gd name="connsiteY50" fmla="*/ 14045 h 206841"/>
                <a:gd name="connsiteX51" fmla="*/ 54314 w 150802"/>
                <a:gd name="connsiteY51" fmla="*/ 14045 h 206841"/>
                <a:gd name="connsiteX52" fmla="*/ 131633 w 150802"/>
                <a:gd name="connsiteY52" fmla="*/ 56179 h 206841"/>
                <a:gd name="connsiteX53" fmla="*/ 116297 w 150802"/>
                <a:gd name="connsiteY53" fmla="*/ 56179 h 206841"/>
                <a:gd name="connsiteX54" fmla="*/ 116297 w 150802"/>
                <a:gd name="connsiteY54" fmla="*/ 55541 h 206841"/>
                <a:gd name="connsiteX55" fmla="*/ 116297 w 150802"/>
                <a:gd name="connsiteY55" fmla="*/ 41496 h 206841"/>
                <a:gd name="connsiteX56" fmla="*/ 116297 w 150802"/>
                <a:gd name="connsiteY56" fmla="*/ 40858 h 206841"/>
                <a:gd name="connsiteX57" fmla="*/ 130355 w 150802"/>
                <a:gd name="connsiteY57" fmla="*/ 40858 h 206841"/>
                <a:gd name="connsiteX58" fmla="*/ 136745 w 150802"/>
                <a:gd name="connsiteY58" fmla="*/ 34474 h 206841"/>
                <a:gd name="connsiteX59" fmla="*/ 136745 w 150802"/>
                <a:gd name="connsiteY59" fmla="*/ 20429 h 206841"/>
                <a:gd name="connsiteX60" fmla="*/ 123326 w 150802"/>
                <a:gd name="connsiteY60" fmla="*/ 0 h 206841"/>
                <a:gd name="connsiteX61" fmla="*/ 26838 w 150802"/>
                <a:gd name="connsiteY61" fmla="*/ 0 h 206841"/>
                <a:gd name="connsiteX62" fmla="*/ 13419 w 150802"/>
                <a:gd name="connsiteY62" fmla="*/ 20429 h 206841"/>
                <a:gd name="connsiteX63" fmla="*/ 13419 w 150802"/>
                <a:gd name="connsiteY63" fmla="*/ 34474 h 206841"/>
                <a:gd name="connsiteX64" fmla="*/ 19809 w 150802"/>
                <a:gd name="connsiteY64" fmla="*/ 40858 h 206841"/>
                <a:gd name="connsiteX65" fmla="*/ 33867 w 150802"/>
                <a:gd name="connsiteY65" fmla="*/ 40858 h 206841"/>
                <a:gd name="connsiteX66" fmla="*/ 33867 w 150802"/>
                <a:gd name="connsiteY66" fmla="*/ 41496 h 206841"/>
                <a:gd name="connsiteX67" fmla="*/ 33867 w 150802"/>
                <a:gd name="connsiteY67" fmla="*/ 55541 h 206841"/>
                <a:gd name="connsiteX68" fmla="*/ 33867 w 150802"/>
                <a:gd name="connsiteY68" fmla="*/ 56179 h 206841"/>
                <a:gd name="connsiteX69" fmla="*/ 19170 w 150802"/>
                <a:gd name="connsiteY69" fmla="*/ 56179 h 206841"/>
                <a:gd name="connsiteX70" fmla="*/ 0 w 150802"/>
                <a:gd name="connsiteY70" fmla="*/ 75331 h 206841"/>
                <a:gd name="connsiteX71" fmla="*/ 0 w 150802"/>
                <a:gd name="connsiteY71" fmla="*/ 187689 h 206841"/>
                <a:gd name="connsiteX72" fmla="*/ 19170 w 150802"/>
                <a:gd name="connsiteY72" fmla="*/ 206841 h 206841"/>
                <a:gd name="connsiteX73" fmla="*/ 131633 w 150802"/>
                <a:gd name="connsiteY73" fmla="*/ 206841 h 206841"/>
                <a:gd name="connsiteX74" fmla="*/ 150802 w 150802"/>
                <a:gd name="connsiteY74" fmla="*/ 187689 h 206841"/>
                <a:gd name="connsiteX75" fmla="*/ 150802 w 150802"/>
                <a:gd name="connsiteY75" fmla="*/ 75331 h 206841"/>
                <a:gd name="connsiteX76" fmla="*/ 131633 w 150802"/>
                <a:gd name="connsiteY76" fmla="*/ 56179 h 20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50802" h="206841">
                  <a:moveTo>
                    <a:pt x="138022" y="187689"/>
                  </a:moveTo>
                  <a:cubicBezTo>
                    <a:pt x="138022" y="191519"/>
                    <a:pt x="135467" y="194073"/>
                    <a:pt x="131633" y="194073"/>
                  </a:cubicBezTo>
                  <a:lnTo>
                    <a:pt x="19170" y="194073"/>
                  </a:lnTo>
                  <a:cubicBezTo>
                    <a:pt x="15336" y="194073"/>
                    <a:pt x="12780" y="191519"/>
                    <a:pt x="12780" y="187689"/>
                  </a:cubicBezTo>
                  <a:lnTo>
                    <a:pt x="12780" y="75331"/>
                  </a:lnTo>
                  <a:cubicBezTo>
                    <a:pt x="12780" y="71501"/>
                    <a:pt x="15336" y="68947"/>
                    <a:pt x="19170" y="68947"/>
                  </a:cubicBezTo>
                  <a:lnTo>
                    <a:pt x="131633" y="68947"/>
                  </a:lnTo>
                  <a:cubicBezTo>
                    <a:pt x="135467" y="68947"/>
                    <a:pt x="138022" y="71501"/>
                    <a:pt x="138022" y="75331"/>
                  </a:cubicBezTo>
                  <a:lnTo>
                    <a:pt x="138022" y="187689"/>
                  </a:lnTo>
                  <a:close/>
                  <a:moveTo>
                    <a:pt x="47286" y="41496"/>
                  </a:moveTo>
                  <a:lnTo>
                    <a:pt x="103517" y="41496"/>
                  </a:lnTo>
                  <a:cubicBezTo>
                    <a:pt x="103517" y="41496"/>
                    <a:pt x="103517" y="41496"/>
                    <a:pt x="103517" y="42134"/>
                  </a:cubicBezTo>
                  <a:lnTo>
                    <a:pt x="103517" y="56179"/>
                  </a:lnTo>
                  <a:cubicBezTo>
                    <a:pt x="103517" y="56179"/>
                    <a:pt x="103517" y="56179"/>
                    <a:pt x="103517" y="56818"/>
                  </a:cubicBezTo>
                  <a:lnTo>
                    <a:pt x="47286" y="56818"/>
                  </a:lnTo>
                  <a:cubicBezTo>
                    <a:pt x="47286" y="56818"/>
                    <a:pt x="47286" y="56818"/>
                    <a:pt x="47286" y="56179"/>
                  </a:cubicBezTo>
                  <a:lnTo>
                    <a:pt x="47286" y="41496"/>
                  </a:lnTo>
                  <a:cubicBezTo>
                    <a:pt x="47286" y="42134"/>
                    <a:pt x="47286" y="42134"/>
                    <a:pt x="47286" y="41496"/>
                  </a:cubicBezTo>
                  <a:moveTo>
                    <a:pt x="26838" y="21706"/>
                  </a:moveTo>
                  <a:cubicBezTo>
                    <a:pt x="26838" y="17237"/>
                    <a:pt x="27477" y="15322"/>
                    <a:pt x="27477" y="14045"/>
                  </a:cubicBezTo>
                  <a:lnTo>
                    <a:pt x="41535" y="14045"/>
                  </a:lnTo>
                  <a:cubicBezTo>
                    <a:pt x="41535" y="14045"/>
                    <a:pt x="41535" y="14045"/>
                    <a:pt x="41535" y="14683"/>
                  </a:cubicBezTo>
                  <a:lnTo>
                    <a:pt x="41535" y="28728"/>
                  </a:lnTo>
                  <a:cubicBezTo>
                    <a:pt x="41535" y="28728"/>
                    <a:pt x="41535" y="29366"/>
                    <a:pt x="41535" y="29366"/>
                  </a:cubicBezTo>
                  <a:lnTo>
                    <a:pt x="26838" y="29366"/>
                  </a:lnTo>
                  <a:lnTo>
                    <a:pt x="26838" y="21706"/>
                  </a:lnTo>
                  <a:close/>
                  <a:moveTo>
                    <a:pt x="123965" y="21706"/>
                  </a:moveTo>
                  <a:lnTo>
                    <a:pt x="123965" y="29366"/>
                  </a:lnTo>
                  <a:lnTo>
                    <a:pt x="109268" y="29366"/>
                  </a:lnTo>
                  <a:cubicBezTo>
                    <a:pt x="109268" y="29366"/>
                    <a:pt x="109268" y="29366"/>
                    <a:pt x="109268" y="28728"/>
                  </a:cubicBezTo>
                  <a:lnTo>
                    <a:pt x="109268" y="14683"/>
                  </a:lnTo>
                  <a:cubicBezTo>
                    <a:pt x="109268" y="14683"/>
                    <a:pt x="109268" y="14045"/>
                    <a:pt x="109268" y="14045"/>
                  </a:cubicBezTo>
                  <a:lnTo>
                    <a:pt x="123326" y="14045"/>
                  </a:lnTo>
                  <a:cubicBezTo>
                    <a:pt x="123965" y="14683"/>
                    <a:pt x="123965" y="16598"/>
                    <a:pt x="123965" y="21706"/>
                  </a:cubicBezTo>
                  <a:moveTo>
                    <a:pt x="81791" y="14045"/>
                  </a:moveTo>
                  <a:lnTo>
                    <a:pt x="96488" y="14045"/>
                  </a:lnTo>
                  <a:cubicBezTo>
                    <a:pt x="96488" y="14045"/>
                    <a:pt x="96488" y="14045"/>
                    <a:pt x="96488" y="14683"/>
                  </a:cubicBezTo>
                  <a:lnTo>
                    <a:pt x="96488" y="28728"/>
                  </a:lnTo>
                  <a:cubicBezTo>
                    <a:pt x="96488" y="28728"/>
                    <a:pt x="96488" y="29366"/>
                    <a:pt x="96488" y="29366"/>
                  </a:cubicBezTo>
                  <a:lnTo>
                    <a:pt x="81791" y="29366"/>
                  </a:lnTo>
                  <a:cubicBezTo>
                    <a:pt x="81791" y="29366"/>
                    <a:pt x="81791" y="29366"/>
                    <a:pt x="81791" y="28728"/>
                  </a:cubicBezTo>
                  <a:lnTo>
                    <a:pt x="81791" y="14045"/>
                  </a:lnTo>
                  <a:cubicBezTo>
                    <a:pt x="81791" y="14683"/>
                    <a:pt x="81791" y="14683"/>
                    <a:pt x="81791" y="14045"/>
                  </a:cubicBezTo>
                  <a:moveTo>
                    <a:pt x="54314" y="14045"/>
                  </a:moveTo>
                  <a:lnTo>
                    <a:pt x="69011" y="14045"/>
                  </a:lnTo>
                  <a:cubicBezTo>
                    <a:pt x="69011" y="14045"/>
                    <a:pt x="69011" y="14045"/>
                    <a:pt x="69011" y="14683"/>
                  </a:cubicBezTo>
                  <a:lnTo>
                    <a:pt x="69011" y="28728"/>
                  </a:lnTo>
                  <a:cubicBezTo>
                    <a:pt x="69011" y="28728"/>
                    <a:pt x="69011" y="29366"/>
                    <a:pt x="69011" y="29366"/>
                  </a:cubicBezTo>
                  <a:lnTo>
                    <a:pt x="54314" y="29366"/>
                  </a:lnTo>
                  <a:cubicBezTo>
                    <a:pt x="54314" y="29366"/>
                    <a:pt x="54314" y="29366"/>
                    <a:pt x="54314" y="28728"/>
                  </a:cubicBezTo>
                  <a:lnTo>
                    <a:pt x="54314" y="14045"/>
                  </a:lnTo>
                  <a:cubicBezTo>
                    <a:pt x="54314" y="14683"/>
                    <a:pt x="54314" y="14683"/>
                    <a:pt x="54314" y="14045"/>
                  </a:cubicBezTo>
                  <a:moveTo>
                    <a:pt x="131633" y="56179"/>
                  </a:moveTo>
                  <a:lnTo>
                    <a:pt x="116297" y="56179"/>
                  </a:lnTo>
                  <a:cubicBezTo>
                    <a:pt x="116297" y="56179"/>
                    <a:pt x="116297" y="56179"/>
                    <a:pt x="116297" y="55541"/>
                  </a:cubicBezTo>
                  <a:lnTo>
                    <a:pt x="116297" y="41496"/>
                  </a:lnTo>
                  <a:cubicBezTo>
                    <a:pt x="116297" y="41496"/>
                    <a:pt x="116297" y="40858"/>
                    <a:pt x="116297" y="40858"/>
                  </a:cubicBezTo>
                  <a:lnTo>
                    <a:pt x="130355" y="40858"/>
                  </a:lnTo>
                  <a:cubicBezTo>
                    <a:pt x="134189" y="40858"/>
                    <a:pt x="136745" y="38304"/>
                    <a:pt x="136745" y="34474"/>
                  </a:cubicBezTo>
                  <a:lnTo>
                    <a:pt x="136745" y="20429"/>
                  </a:lnTo>
                  <a:cubicBezTo>
                    <a:pt x="136745" y="7022"/>
                    <a:pt x="132272" y="0"/>
                    <a:pt x="123326" y="0"/>
                  </a:cubicBezTo>
                  <a:lnTo>
                    <a:pt x="26838" y="0"/>
                  </a:lnTo>
                  <a:cubicBezTo>
                    <a:pt x="17892" y="0"/>
                    <a:pt x="13419" y="7022"/>
                    <a:pt x="13419" y="20429"/>
                  </a:cubicBezTo>
                  <a:lnTo>
                    <a:pt x="13419" y="34474"/>
                  </a:lnTo>
                  <a:cubicBezTo>
                    <a:pt x="13419" y="38304"/>
                    <a:pt x="15975" y="40858"/>
                    <a:pt x="19809" y="40858"/>
                  </a:cubicBezTo>
                  <a:lnTo>
                    <a:pt x="33867" y="40858"/>
                  </a:lnTo>
                  <a:cubicBezTo>
                    <a:pt x="33867" y="40858"/>
                    <a:pt x="33867" y="40858"/>
                    <a:pt x="33867" y="41496"/>
                  </a:cubicBezTo>
                  <a:lnTo>
                    <a:pt x="33867" y="55541"/>
                  </a:lnTo>
                  <a:cubicBezTo>
                    <a:pt x="33867" y="55541"/>
                    <a:pt x="33867" y="55541"/>
                    <a:pt x="33867" y="56179"/>
                  </a:cubicBezTo>
                  <a:lnTo>
                    <a:pt x="19170" y="56179"/>
                  </a:lnTo>
                  <a:cubicBezTo>
                    <a:pt x="8307" y="56179"/>
                    <a:pt x="0" y="64478"/>
                    <a:pt x="0" y="75331"/>
                  </a:cubicBezTo>
                  <a:lnTo>
                    <a:pt x="0" y="187689"/>
                  </a:lnTo>
                  <a:cubicBezTo>
                    <a:pt x="0" y="198542"/>
                    <a:pt x="8307" y="206841"/>
                    <a:pt x="19170" y="206841"/>
                  </a:cubicBezTo>
                  <a:lnTo>
                    <a:pt x="131633" y="206841"/>
                  </a:lnTo>
                  <a:cubicBezTo>
                    <a:pt x="142496" y="206841"/>
                    <a:pt x="150802" y="198542"/>
                    <a:pt x="150802" y="187689"/>
                  </a:cubicBezTo>
                  <a:lnTo>
                    <a:pt x="150802" y="75331"/>
                  </a:lnTo>
                  <a:cubicBezTo>
                    <a:pt x="150802" y="65117"/>
                    <a:pt x="141857" y="56179"/>
                    <a:pt x="131633" y="56179"/>
                  </a:cubicBezTo>
                </a:path>
              </a:pathLst>
            </a:custGeom>
            <a:grpFill/>
            <a:ln w="6390" cap="flat">
              <a:noFill/>
              <a:prstDash val="solid"/>
              <a:miter/>
            </a:ln>
          </p:spPr>
          <p:txBody>
            <a:bodyPr rtlCol="0" anchor="ctr"/>
            <a:lstStyle/>
            <a:p>
              <a:endParaRPr lang="en-US"/>
            </a:p>
          </p:txBody>
        </p:sp>
        <p:sp>
          <p:nvSpPr>
            <p:cNvPr id="9" name="Graphic 4">
              <a:extLst>
                <a:ext uri="{FF2B5EF4-FFF2-40B4-BE49-F238E27FC236}">
                  <a16:creationId xmlns:a16="http://schemas.microsoft.com/office/drawing/2014/main" id="{2F8222AC-14BB-3F57-9A4F-E7148F68DFCE}"/>
                </a:ext>
              </a:extLst>
            </p:cNvPr>
            <p:cNvSpPr/>
            <p:nvPr/>
          </p:nvSpPr>
          <p:spPr>
            <a:xfrm>
              <a:off x="4801398" y="1085439"/>
              <a:ext cx="81791" cy="81714"/>
            </a:xfrm>
            <a:custGeom>
              <a:avLst/>
              <a:gdLst>
                <a:gd name="connsiteX0" fmla="*/ 75401 w 81791"/>
                <a:gd name="connsiteY0" fmla="*/ 34474 h 81714"/>
                <a:gd name="connsiteX1" fmla="*/ 47285 w 81791"/>
                <a:gd name="connsiteY1" fmla="*/ 34474 h 81714"/>
                <a:gd name="connsiteX2" fmla="*/ 47285 w 81791"/>
                <a:gd name="connsiteY2" fmla="*/ 6384 h 81714"/>
                <a:gd name="connsiteX3" fmla="*/ 40895 w 81791"/>
                <a:gd name="connsiteY3" fmla="*/ 0 h 81714"/>
                <a:gd name="connsiteX4" fmla="*/ 34505 w 81791"/>
                <a:gd name="connsiteY4" fmla="*/ 6384 h 81714"/>
                <a:gd name="connsiteX5" fmla="*/ 34505 w 81791"/>
                <a:gd name="connsiteY5" fmla="*/ 34474 h 81714"/>
                <a:gd name="connsiteX6" fmla="*/ 6390 w 81791"/>
                <a:gd name="connsiteY6" fmla="*/ 34474 h 81714"/>
                <a:gd name="connsiteX7" fmla="*/ 0 w 81791"/>
                <a:gd name="connsiteY7" fmla="*/ 40858 h 81714"/>
                <a:gd name="connsiteX8" fmla="*/ 6390 w 81791"/>
                <a:gd name="connsiteY8" fmla="*/ 47242 h 81714"/>
                <a:gd name="connsiteX9" fmla="*/ 34505 w 81791"/>
                <a:gd name="connsiteY9" fmla="*/ 47242 h 81714"/>
                <a:gd name="connsiteX10" fmla="*/ 34505 w 81791"/>
                <a:gd name="connsiteY10" fmla="*/ 75331 h 81714"/>
                <a:gd name="connsiteX11" fmla="*/ 40895 w 81791"/>
                <a:gd name="connsiteY11" fmla="*/ 81715 h 81714"/>
                <a:gd name="connsiteX12" fmla="*/ 47285 w 81791"/>
                <a:gd name="connsiteY12" fmla="*/ 75331 h 81714"/>
                <a:gd name="connsiteX13" fmla="*/ 47285 w 81791"/>
                <a:gd name="connsiteY13" fmla="*/ 47242 h 81714"/>
                <a:gd name="connsiteX14" fmla="*/ 75401 w 81791"/>
                <a:gd name="connsiteY14" fmla="*/ 47242 h 81714"/>
                <a:gd name="connsiteX15" fmla="*/ 81791 w 81791"/>
                <a:gd name="connsiteY15" fmla="*/ 40858 h 81714"/>
                <a:gd name="connsiteX16" fmla="*/ 75401 w 81791"/>
                <a:gd name="connsiteY16" fmla="*/ 34474 h 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791" h="81714">
                  <a:moveTo>
                    <a:pt x="75401" y="34474"/>
                  </a:moveTo>
                  <a:lnTo>
                    <a:pt x="47285" y="34474"/>
                  </a:lnTo>
                  <a:lnTo>
                    <a:pt x="47285" y="6384"/>
                  </a:lnTo>
                  <a:cubicBezTo>
                    <a:pt x="47285" y="2554"/>
                    <a:pt x="44730" y="0"/>
                    <a:pt x="40895" y="0"/>
                  </a:cubicBezTo>
                  <a:cubicBezTo>
                    <a:pt x="37062" y="0"/>
                    <a:pt x="34505" y="2554"/>
                    <a:pt x="34505" y="6384"/>
                  </a:cubicBezTo>
                  <a:lnTo>
                    <a:pt x="34505" y="34474"/>
                  </a:lnTo>
                  <a:lnTo>
                    <a:pt x="6390" y="34474"/>
                  </a:lnTo>
                  <a:cubicBezTo>
                    <a:pt x="2556" y="34474"/>
                    <a:pt x="0" y="37027"/>
                    <a:pt x="0" y="40858"/>
                  </a:cubicBezTo>
                  <a:cubicBezTo>
                    <a:pt x="0" y="44688"/>
                    <a:pt x="2556" y="47242"/>
                    <a:pt x="6390" y="47242"/>
                  </a:cubicBezTo>
                  <a:lnTo>
                    <a:pt x="34505" y="47242"/>
                  </a:lnTo>
                  <a:lnTo>
                    <a:pt x="34505" y="75331"/>
                  </a:lnTo>
                  <a:cubicBezTo>
                    <a:pt x="34505" y="79161"/>
                    <a:pt x="37062" y="81715"/>
                    <a:pt x="40895" y="81715"/>
                  </a:cubicBezTo>
                  <a:cubicBezTo>
                    <a:pt x="44730" y="81715"/>
                    <a:pt x="47285" y="79161"/>
                    <a:pt x="47285" y="75331"/>
                  </a:cubicBezTo>
                  <a:lnTo>
                    <a:pt x="47285" y="47242"/>
                  </a:lnTo>
                  <a:lnTo>
                    <a:pt x="75401" y="47242"/>
                  </a:lnTo>
                  <a:cubicBezTo>
                    <a:pt x="79235" y="47242"/>
                    <a:pt x="81791" y="44688"/>
                    <a:pt x="81791" y="40858"/>
                  </a:cubicBezTo>
                  <a:cubicBezTo>
                    <a:pt x="81791" y="37666"/>
                    <a:pt x="78596" y="34474"/>
                    <a:pt x="75401" y="34474"/>
                  </a:cubicBezTo>
                </a:path>
              </a:pathLst>
            </a:custGeom>
            <a:grpFill/>
            <a:ln w="6390" cap="flat">
              <a:noFill/>
              <a:prstDash val="solid"/>
              <a:miter/>
            </a:ln>
          </p:spPr>
          <p:txBody>
            <a:bodyPr rtlCol="0" anchor="ctr"/>
            <a:lstStyle/>
            <a:p>
              <a:endParaRPr lang="en-US"/>
            </a:p>
          </p:txBody>
        </p:sp>
      </p:grpSp>
      <p:grpSp>
        <p:nvGrpSpPr>
          <p:cNvPr id="11" name="Graphic 4">
            <a:extLst>
              <a:ext uri="{FF2B5EF4-FFF2-40B4-BE49-F238E27FC236}">
                <a16:creationId xmlns:a16="http://schemas.microsoft.com/office/drawing/2014/main" id="{2D017354-D6C0-3696-0025-044C2FE133D6}"/>
              </a:ext>
            </a:extLst>
          </p:cNvPr>
          <p:cNvGrpSpPr/>
          <p:nvPr/>
        </p:nvGrpSpPr>
        <p:grpSpPr>
          <a:xfrm>
            <a:off x="8845469" y="1339437"/>
            <a:ext cx="1828800" cy="1828800"/>
            <a:chOff x="4661459" y="3339623"/>
            <a:chExt cx="361674" cy="361333"/>
          </a:xfrm>
          <a:solidFill>
            <a:srgbClr val="4596CB"/>
          </a:solidFill>
        </p:grpSpPr>
        <p:sp>
          <p:nvSpPr>
            <p:cNvPr id="12" name="Graphic 4">
              <a:extLst>
                <a:ext uri="{FF2B5EF4-FFF2-40B4-BE49-F238E27FC236}">
                  <a16:creationId xmlns:a16="http://schemas.microsoft.com/office/drawing/2014/main" id="{D18E922F-78B4-BBA2-2401-848C7D32AFEF}"/>
                </a:ext>
              </a:extLst>
            </p:cNvPr>
            <p:cNvSpPr/>
            <p:nvPr/>
          </p:nvSpPr>
          <p:spPr>
            <a:xfrm>
              <a:off x="4661459" y="3339623"/>
              <a:ext cx="361674" cy="361333"/>
            </a:xfrm>
            <a:custGeom>
              <a:avLst/>
              <a:gdLst>
                <a:gd name="connsiteX0" fmla="*/ 180835 w 361674"/>
                <a:gd name="connsiteY0" fmla="*/ 349204 h 361333"/>
                <a:gd name="connsiteX1" fmla="*/ 12780 w 361674"/>
                <a:gd name="connsiteY1" fmla="*/ 181305 h 361333"/>
                <a:gd name="connsiteX2" fmla="*/ 180835 w 361674"/>
                <a:gd name="connsiteY2" fmla="*/ 13406 h 361333"/>
                <a:gd name="connsiteX3" fmla="*/ 348890 w 361674"/>
                <a:gd name="connsiteY3" fmla="*/ 181305 h 361333"/>
                <a:gd name="connsiteX4" fmla="*/ 180835 w 361674"/>
                <a:gd name="connsiteY4" fmla="*/ 349204 h 361333"/>
                <a:gd name="connsiteX5" fmla="*/ 180835 w 361674"/>
                <a:gd name="connsiteY5" fmla="*/ 0 h 361333"/>
                <a:gd name="connsiteX6" fmla="*/ 0 w 361674"/>
                <a:gd name="connsiteY6" fmla="*/ 180667 h 361333"/>
                <a:gd name="connsiteX7" fmla="*/ 180835 w 361674"/>
                <a:gd name="connsiteY7" fmla="*/ 361333 h 361333"/>
                <a:gd name="connsiteX8" fmla="*/ 361670 w 361674"/>
                <a:gd name="connsiteY8" fmla="*/ 180667 h 361333"/>
                <a:gd name="connsiteX9" fmla="*/ 180835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9530" y="273873"/>
                    <a:pt x="273489" y="349204"/>
                    <a:pt x="180835" y="349204"/>
                  </a:cubicBezTo>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path>
              </a:pathLst>
            </a:custGeom>
            <a:grpFill/>
            <a:ln w="6390" cap="flat">
              <a:noFill/>
              <a:prstDash val="solid"/>
              <a:miter/>
            </a:ln>
          </p:spPr>
          <p:txBody>
            <a:bodyPr rtlCol="0" anchor="ctr"/>
            <a:lstStyle/>
            <a:p>
              <a:endParaRPr lang="en-US"/>
            </a:p>
          </p:txBody>
        </p:sp>
        <p:sp>
          <p:nvSpPr>
            <p:cNvPr id="13" name="Graphic 4">
              <a:extLst>
                <a:ext uri="{FF2B5EF4-FFF2-40B4-BE49-F238E27FC236}">
                  <a16:creationId xmlns:a16="http://schemas.microsoft.com/office/drawing/2014/main" id="{DD49EC2A-5281-519D-2EC6-B3BC685CC130}"/>
                </a:ext>
              </a:extLst>
            </p:cNvPr>
            <p:cNvSpPr/>
            <p:nvPr/>
          </p:nvSpPr>
          <p:spPr>
            <a:xfrm>
              <a:off x="4741333" y="3421338"/>
              <a:ext cx="200643" cy="199818"/>
            </a:xfrm>
            <a:custGeom>
              <a:avLst/>
              <a:gdLst>
                <a:gd name="connsiteX0" fmla="*/ 134827 w 200643"/>
                <a:gd name="connsiteY0" fmla="*/ 146193 h 199818"/>
                <a:gd name="connsiteX1" fmla="*/ 128437 w 200643"/>
                <a:gd name="connsiteY1" fmla="*/ 139809 h 199818"/>
                <a:gd name="connsiteX2" fmla="*/ 123965 w 200643"/>
                <a:gd name="connsiteY2" fmla="*/ 137894 h 199818"/>
                <a:gd name="connsiteX3" fmla="*/ 119492 w 200643"/>
                <a:gd name="connsiteY3" fmla="*/ 139809 h 199818"/>
                <a:gd name="connsiteX4" fmla="*/ 113102 w 200643"/>
                <a:gd name="connsiteY4" fmla="*/ 146193 h 199818"/>
                <a:gd name="connsiteX5" fmla="*/ 33228 w 200643"/>
                <a:gd name="connsiteY5" fmla="*/ 66393 h 199818"/>
                <a:gd name="connsiteX6" fmla="*/ 51119 w 200643"/>
                <a:gd name="connsiteY6" fmla="*/ 48518 h 199818"/>
                <a:gd name="connsiteX7" fmla="*/ 51119 w 200643"/>
                <a:gd name="connsiteY7" fmla="*/ 48518 h 199818"/>
                <a:gd name="connsiteX8" fmla="*/ 51119 w 200643"/>
                <a:gd name="connsiteY8" fmla="*/ 48518 h 199818"/>
                <a:gd name="connsiteX9" fmla="*/ 69011 w 200643"/>
                <a:gd name="connsiteY9" fmla="*/ 30643 h 199818"/>
                <a:gd name="connsiteX10" fmla="*/ 82430 w 200643"/>
                <a:gd name="connsiteY10" fmla="*/ 44050 h 199818"/>
                <a:gd name="connsiteX11" fmla="*/ 70289 w 200643"/>
                <a:gd name="connsiteY11" fmla="*/ 56179 h 199818"/>
                <a:gd name="connsiteX12" fmla="*/ 70289 w 200643"/>
                <a:gd name="connsiteY12" fmla="*/ 65117 h 199818"/>
                <a:gd name="connsiteX13" fmla="*/ 74762 w 200643"/>
                <a:gd name="connsiteY13" fmla="*/ 67032 h 199818"/>
                <a:gd name="connsiteX14" fmla="*/ 79235 w 200643"/>
                <a:gd name="connsiteY14" fmla="*/ 65117 h 199818"/>
                <a:gd name="connsiteX15" fmla="*/ 91376 w 200643"/>
                <a:gd name="connsiteY15" fmla="*/ 52987 h 199818"/>
                <a:gd name="connsiteX16" fmla="*/ 104795 w 200643"/>
                <a:gd name="connsiteY16" fmla="*/ 66393 h 199818"/>
                <a:gd name="connsiteX17" fmla="*/ 92654 w 200643"/>
                <a:gd name="connsiteY17" fmla="*/ 78523 h 199818"/>
                <a:gd name="connsiteX18" fmla="*/ 92654 w 200643"/>
                <a:gd name="connsiteY18" fmla="*/ 87461 h 199818"/>
                <a:gd name="connsiteX19" fmla="*/ 97127 w 200643"/>
                <a:gd name="connsiteY19" fmla="*/ 89376 h 199818"/>
                <a:gd name="connsiteX20" fmla="*/ 101600 w 200643"/>
                <a:gd name="connsiteY20" fmla="*/ 87461 h 199818"/>
                <a:gd name="connsiteX21" fmla="*/ 113741 w 200643"/>
                <a:gd name="connsiteY21" fmla="*/ 75331 h 199818"/>
                <a:gd name="connsiteX22" fmla="*/ 127160 w 200643"/>
                <a:gd name="connsiteY22" fmla="*/ 88737 h 199818"/>
                <a:gd name="connsiteX23" fmla="*/ 115019 w 200643"/>
                <a:gd name="connsiteY23" fmla="*/ 100867 h 199818"/>
                <a:gd name="connsiteX24" fmla="*/ 115019 w 200643"/>
                <a:gd name="connsiteY24" fmla="*/ 109804 h 199818"/>
                <a:gd name="connsiteX25" fmla="*/ 119492 w 200643"/>
                <a:gd name="connsiteY25" fmla="*/ 111720 h 199818"/>
                <a:gd name="connsiteX26" fmla="*/ 123965 w 200643"/>
                <a:gd name="connsiteY26" fmla="*/ 109804 h 199818"/>
                <a:gd name="connsiteX27" fmla="*/ 136105 w 200643"/>
                <a:gd name="connsiteY27" fmla="*/ 97675 h 199818"/>
                <a:gd name="connsiteX28" fmla="*/ 149525 w 200643"/>
                <a:gd name="connsiteY28" fmla="*/ 111081 h 199818"/>
                <a:gd name="connsiteX29" fmla="*/ 143135 w 200643"/>
                <a:gd name="connsiteY29" fmla="*/ 117465 h 199818"/>
                <a:gd name="connsiteX30" fmla="*/ 143135 w 200643"/>
                <a:gd name="connsiteY30" fmla="*/ 126403 h 199818"/>
                <a:gd name="connsiteX31" fmla="*/ 149525 w 200643"/>
                <a:gd name="connsiteY31" fmla="*/ 132787 h 199818"/>
                <a:gd name="connsiteX32" fmla="*/ 143135 w 200643"/>
                <a:gd name="connsiteY32" fmla="*/ 139171 h 199818"/>
                <a:gd name="connsiteX33" fmla="*/ 143135 w 200643"/>
                <a:gd name="connsiteY33" fmla="*/ 139171 h 199818"/>
                <a:gd name="connsiteX34" fmla="*/ 143135 w 200643"/>
                <a:gd name="connsiteY34" fmla="*/ 139171 h 199818"/>
                <a:gd name="connsiteX35" fmla="*/ 134827 w 200643"/>
                <a:gd name="connsiteY35" fmla="*/ 146193 h 199818"/>
                <a:gd name="connsiteX36" fmla="*/ 154636 w 200643"/>
                <a:gd name="connsiteY36" fmla="*/ 144278 h 199818"/>
                <a:gd name="connsiteX37" fmla="*/ 161026 w 200643"/>
                <a:gd name="connsiteY37" fmla="*/ 137894 h 199818"/>
                <a:gd name="connsiteX38" fmla="*/ 162943 w 200643"/>
                <a:gd name="connsiteY38" fmla="*/ 133425 h 199818"/>
                <a:gd name="connsiteX39" fmla="*/ 161026 w 200643"/>
                <a:gd name="connsiteY39" fmla="*/ 128956 h 199818"/>
                <a:gd name="connsiteX40" fmla="*/ 154636 w 200643"/>
                <a:gd name="connsiteY40" fmla="*/ 122572 h 199818"/>
                <a:gd name="connsiteX41" fmla="*/ 161026 w 200643"/>
                <a:gd name="connsiteY41" fmla="*/ 116188 h 199818"/>
                <a:gd name="connsiteX42" fmla="*/ 162943 w 200643"/>
                <a:gd name="connsiteY42" fmla="*/ 111720 h 199818"/>
                <a:gd name="connsiteX43" fmla="*/ 161026 w 200643"/>
                <a:gd name="connsiteY43" fmla="*/ 107251 h 199818"/>
                <a:gd name="connsiteX44" fmla="*/ 72206 w 200643"/>
                <a:gd name="connsiteY44" fmla="*/ 18514 h 199818"/>
                <a:gd name="connsiteX45" fmla="*/ 63260 w 200643"/>
                <a:gd name="connsiteY45" fmla="*/ 18514 h 199818"/>
                <a:gd name="connsiteX46" fmla="*/ 45368 w 200643"/>
                <a:gd name="connsiteY46" fmla="*/ 36389 h 199818"/>
                <a:gd name="connsiteX47" fmla="*/ 31950 w 200643"/>
                <a:gd name="connsiteY47" fmla="*/ 22982 h 199818"/>
                <a:gd name="connsiteX48" fmla="*/ 44091 w 200643"/>
                <a:gd name="connsiteY48" fmla="*/ 10853 h 199818"/>
                <a:gd name="connsiteX49" fmla="*/ 44091 w 200643"/>
                <a:gd name="connsiteY49" fmla="*/ 1915 h 199818"/>
                <a:gd name="connsiteX50" fmla="*/ 35145 w 200643"/>
                <a:gd name="connsiteY50" fmla="*/ 1915 h 199818"/>
                <a:gd name="connsiteX51" fmla="*/ 1917 w 200643"/>
                <a:gd name="connsiteY51" fmla="*/ 35112 h 199818"/>
                <a:gd name="connsiteX52" fmla="*/ 1917 w 200643"/>
                <a:gd name="connsiteY52" fmla="*/ 44050 h 199818"/>
                <a:gd name="connsiteX53" fmla="*/ 6390 w 200643"/>
                <a:gd name="connsiteY53" fmla="*/ 45965 h 199818"/>
                <a:gd name="connsiteX54" fmla="*/ 10863 w 200643"/>
                <a:gd name="connsiteY54" fmla="*/ 44050 h 199818"/>
                <a:gd name="connsiteX55" fmla="*/ 23004 w 200643"/>
                <a:gd name="connsiteY55" fmla="*/ 31920 h 199818"/>
                <a:gd name="connsiteX56" fmla="*/ 36423 w 200643"/>
                <a:gd name="connsiteY56" fmla="*/ 45326 h 199818"/>
                <a:gd name="connsiteX57" fmla="*/ 19170 w 200643"/>
                <a:gd name="connsiteY57" fmla="*/ 61925 h 199818"/>
                <a:gd name="connsiteX58" fmla="*/ 17892 w 200643"/>
                <a:gd name="connsiteY58" fmla="*/ 63840 h 199818"/>
                <a:gd name="connsiteX59" fmla="*/ 17892 w 200643"/>
                <a:gd name="connsiteY59" fmla="*/ 68947 h 199818"/>
                <a:gd name="connsiteX60" fmla="*/ 19170 w 200643"/>
                <a:gd name="connsiteY60" fmla="*/ 70862 h 199818"/>
                <a:gd name="connsiteX61" fmla="*/ 107990 w 200643"/>
                <a:gd name="connsiteY61" fmla="*/ 159599 h 199818"/>
                <a:gd name="connsiteX62" fmla="*/ 112463 w 200643"/>
                <a:gd name="connsiteY62" fmla="*/ 161515 h 199818"/>
                <a:gd name="connsiteX63" fmla="*/ 116936 w 200643"/>
                <a:gd name="connsiteY63" fmla="*/ 159599 h 199818"/>
                <a:gd name="connsiteX64" fmla="*/ 123326 w 200643"/>
                <a:gd name="connsiteY64" fmla="*/ 153215 h 199818"/>
                <a:gd name="connsiteX65" fmla="*/ 129716 w 200643"/>
                <a:gd name="connsiteY65" fmla="*/ 159599 h 199818"/>
                <a:gd name="connsiteX66" fmla="*/ 134189 w 200643"/>
                <a:gd name="connsiteY66" fmla="*/ 161515 h 199818"/>
                <a:gd name="connsiteX67" fmla="*/ 138662 w 200643"/>
                <a:gd name="connsiteY67" fmla="*/ 159599 h 199818"/>
                <a:gd name="connsiteX68" fmla="*/ 145052 w 200643"/>
                <a:gd name="connsiteY68" fmla="*/ 153215 h 199818"/>
                <a:gd name="connsiteX69" fmla="*/ 189781 w 200643"/>
                <a:gd name="connsiteY69" fmla="*/ 197903 h 199818"/>
                <a:gd name="connsiteX70" fmla="*/ 194254 w 200643"/>
                <a:gd name="connsiteY70" fmla="*/ 199818 h 199818"/>
                <a:gd name="connsiteX71" fmla="*/ 198727 w 200643"/>
                <a:gd name="connsiteY71" fmla="*/ 197903 h 199818"/>
                <a:gd name="connsiteX72" fmla="*/ 198727 w 200643"/>
                <a:gd name="connsiteY72" fmla="*/ 188966 h 199818"/>
                <a:gd name="connsiteX73" fmla="*/ 154636 w 200643"/>
                <a:gd name="connsiteY73" fmla="*/ 144278 h 19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00643" h="199818">
                  <a:moveTo>
                    <a:pt x="134827" y="146193"/>
                  </a:moveTo>
                  <a:lnTo>
                    <a:pt x="128437" y="139809"/>
                  </a:lnTo>
                  <a:cubicBezTo>
                    <a:pt x="127160" y="138532"/>
                    <a:pt x="125882" y="137894"/>
                    <a:pt x="123965" y="137894"/>
                  </a:cubicBezTo>
                  <a:cubicBezTo>
                    <a:pt x="122048" y="137894"/>
                    <a:pt x="120770" y="138532"/>
                    <a:pt x="119492" y="139809"/>
                  </a:cubicBezTo>
                  <a:lnTo>
                    <a:pt x="113102" y="146193"/>
                  </a:lnTo>
                  <a:lnTo>
                    <a:pt x="33228" y="66393"/>
                  </a:lnTo>
                  <a:lnTo>
                    <a:pt x="51119" y="48518"/>
                  </a:lnTo>
                  <a:cubicBezTo>
                    <a:pt x="51119" y="48518"/>
                    <a:pt x="51119" y="48518"/>
                    <a:pt x="51119" y="48518"/>
                  </a:cubicBezTo>
                  <a:cubicBezTo>
                    <a:pt x="51119" y="48518"/>
                    <a:pt x="51119" y="48518"/>
                    <a:pt x="51119" y="48518"/>
                  </a:cubicBezTo>
                  <a:lnTo>
                    <a:pt x="69011" y="30643"/>
                  </a:lnTo>
                  <a:lnTo>
                    <a:pt x="82430" y="44050"/>
                  </a:lnTo>
                  <a:lnTo>
                    <a:pt x="70289" y="56179"/>
                  </a:lnTo>
                  <a:cubicBezTo>
                    <a:pt x="67733" y="58733"/>
                    <a:pt x="67733" y="62563"/>
                    <a:pt x="70289" y="65117"/>
                  </a:cubicBezTo>
                  <a:cubicBezTo>
                    <a:pt x="71567" y="66393"/>
                    <a:pt x="73484" y="67032"/>
                    <a:pt x="74762" y="67032"/>
                  </a:cubicBezTo>
                  <a:cubicBezTo>
                    <a:pt x="76679" y="67032"/>
                    <a:pt x="77957" y="66393"/>
                    <a:pt x="79235" y="65117"/>
                  </a:cubicBezTo>
                  <a:lnTo>
                    <a:pt x="91376" y="52987"/>
                  </a:lnTo>
                  <a:lnTo>
                    <a:pt x="104795" y="66393"/>
                  </a:lnTo>
                  <a:lnTo>
                    <a:pt x="92654" y="78523"/>
                  </a:lnTo>
                  <a:cubicBezTo>
                    <a:pt x="90098" y="81077"/>
                    <a:pt x="90098" y="84907"/>
                    <a:pt x="92654" y="87461"/>
                  </a:cubicBezTo>
                  <a:cubicBezTo>
                    <a:pt x="93932" y="88737"/>
                    <a:pt x="95849" y="89376"/>
                    <a:pt x="97127" y="89376"/>
                  </a:cubicBezTo>
                  <a:cubicBezTo>
                    <a:pt x="99044" y="89376"/>
                    <a:pt x="100322" y="88737"/>
                    <a:pt x="101600" y="87461"/>
                  </a:cubicBezTo>
                  <a:lnTo>
                    <a:pt x="113741" y="75331"/>
                  </a:lnTo>
                  <a:lnTo>
                    <a:pt x="127160" y="88737"/>
                  </a:lnTo>
                  <a:lnTo>
                    <a:pt x="115019" y="100867"/>
                  </a:lnTo>
                  <a:cubicBezTo>
                    <a:pt x="112463" y="103420"/>
                    <a:pt x="112463" y="107251"/>
                    <a:pt x="115019" y="109804"/>
                  </a:cubicBezTo>
                  <a:cubicBezTo>
                    <a:pt x="116297" y="111081"/>
                    <a:pt x="118214" y="111720"/>
                    <a:pt x="119492" y="111720"/>
                  </a:cubicBezTo>
                  <a:cubicBezTo>
                    <a:pt x="121409" y="111720"/>
                    <a:pt x="122687" y="111081"/>
                    <a:pt x="123965" y="109804"/>
                  </a:cubicBezTo>
                  <a:lnTo>
                    <a:pt x="136105" y="97675"/>
                  </a:lnTo>
                  <a:lnTo>
                    <a:pt x="149525" y="111081"/>
                  </a:lnTo>
                  <a:lnTo>
                    <a:pt x="143135" y="117465"/>
                  </a:lnTo>
                  <a:cubicBezTo>
                    <a:pt x="140579" y="120019"/>
                    <a:pt x="140579" y="123849"/>
                    <a:pt x="143135" y="126403"/>
                  </a:cubicBezTo>
                  <a:lnTo>
                    <a:pt x="149525" y="132787"/>
                  </a:lnTo>
                  <a:lnTo>
                    <a:pt x="143135" y="139171"/>
                  </a:lnTo>
                  <a:cubicBezTo>
                    <a:pt x="143135" y="139171"/>
                    <a:pt x="143135" y="139171"/>
                    <a:pt x="143135" y="139171"/>
                  </a:cubicBezTo>
                  <a:cubicBezTo>
                    <a:pt x="143135" y="139171"/>
                    <a:pt x="143135" y="139171"/>
                    <a:pt x="143135" y="139171"/>
                  </a:cubicBezTo>
                  <a:lnTo>
                    <a:pt x="134827" y="146193"/>
                  </a:lnTo>
                  <a:close/>
                  <a:moveTo>
                    <a:pt x="154636" y="144278"/>
                  </a:moveTo>
                  <a:lnTo>
                    <a:pt x="161026" y="137894"/>
                  </a:lnTo>
                  <a:cubicBezTo>
                    <a:pt x="162304" y="136617"/>
                    <a:pt x="162943" y="135340"/>
                    <a:pt x="162943" y="133425"/>
                  </a:cubicBezTo>
                  <a:cubicBezTo>
                    <a:pt x="162943" y="131510"/>
                    <a:pt x="162304" y="130233"/>
                    <a:pt x="161026" y="128956"/>
                  </a:cubicBezTo>
                  <a:lnTo>
                    <a:pt x="154636" y="122572"/>
                  </a:lnTo>
                  <a:lnTo>
                    <a:pt x="161026" y="116188"/>
                  </a:lnTo>
                  <a:cubicBezTo>
                    <a:pt x="162304" y="114912"/>
                    <a:pt x="162943" y="113635"/>
                    <a:pt x="162943" y="111720"/>
                  </a:cubicBezTo>
                  <a:cubicBezTo>
                    <a:pt x="162943" y="109804"/>
                    <a:pt x="162304" y="108528"/>
                    <a:pt x="161026" y="107251"/>
                  </a:cubicBezTo>
                  <a:lnTo>
                    <a:pt x="72206" y="18514"/>
                  </a:lnTo>
                  <a:cubicBezTo>
                    <a:pt x="69650" y="15960"/>
                    <a:pt x="65816" y="15960"/>
                    <a:pt x="63260" y="18514"/>
                  </a:cubicBezTo>
                  <a:lnTo>
                    <a:pt x="45368" y="36389"/>
                  </a:lnTo>
                  <a:lnTo>
                    <a:pt x="31950" y="22982"/>
                  </a:lnTo>
                  <a:lnTo>
                    <a:pt x="44091" y="10853"/>
                  </a:lnTo>
                  <a:cubicBezTo>
                    <a:pt x="46646" y="8299"/>
                    <a:pt x="46646" y="4469"/>
                    <a:pt x="44091" y="1915"/>
                  </a:cubicBezTo>
                  <a:cubicBezTo>
                    <a:pt x="41534" y="-638"/>
                    <a:pt x="37701" y="-638"/>
                    <a:pt x="35145" y="1915"/>
                  </a:cubicBezTo>
                  <a:lnTo>
                    <a:pt x="1917" y="35112"/>
                  </a:lnTo>
                  <a:cubicBezTo>
                    <a:pt x="-639" y="37666"/>
                    <a:pt x="-639" y="41496"/>
                    <a:pt x="1917" y="44050"/>
                  </a:cubicBezTo>
                  <a:cubicBezTo>
                    <a:pt x="3195" y="45326"/>
                    <a:pt x="5112" y="45965"/>
                    <a:pt x="6390" y="45965"/>
                  </a:cubicBezTo>
                  <a:cubicBezTo>
                    <a:pt x="8307" y="45965"/>
                    <a:pt x="9585" y="45326"/>
                    <a:pt x="10863" y="44050"/>
                  </a:cubicBezTo>
                  <a:lnTo>
                    <a:pt x="23004" y="31920"/>
                  </a:lnTo>
                  <a:lnTo>
                    <a:pt x="36423" y="45326"/>
                  </a:lnTo>
                  <a:lnTo>
                    <a:pt x="19170" y="61925"/>
                  </a:lnTo>
                  <a:cubicBezTo>
                    <a:pt x="18531" y="62563"/>
                    <a:pt x="17892" y="63201"/>
                    <a:pt x="17892" y="63840"/>
                  </a:cubicBezTo>
                  <a:cubicBezTo>
                    <a:pt x="17253" y="65117"/>
                    <a:pt x="17253" y="67032"/>
                    <a:pt x="17892" y="68947"/>
                  </a:cubicBezTo>
                  <a:cubicBezTo>
                    <a:pt x="17892" y="69585"/>
                    <a:pt x="18531" y="70224"/>
                    <a:pt x="19170" y="70862"/>
                  </a:cubicBezTo>
                  <a:lnTo>
                    <a:pt x="107990" y="159599"/>
                  </a:lnTo>
                  <a:cubicBezTo>
                    <a:pt x="109268" y="160876"/>
                    <a:pt x="111185" y="161515"/>
                    <a:pt x="112463" y="161515"/>
                  </a:cubicBezTo>
                  <a:cubicBezTo>
                    <a:pt x="114380" y="161515"/>
                    <a:pt x="115658" y="160876"/>
                    <a:pt x="116936" y="159599"/>
                  </a:cubicBezTo>
                  <a:lnTo>
                    <a:pt x="123326" y="153215"/>
                  </a:lnTo>
                  <a:lnTo>
                    <a:pt x="129716" y="159599"/>
                  </a:lnTo>
                  <a:cubicBezTo>
                    <a:pt x="130994" y="160876"/>
                    <a:pt x="132272" y="161515"/>
                    <a:pt x="134189" y="161515"/>
                  </a:cubicBezTo>
                  <a:cubicBezTo>
                    <a:pt x="136105" y="161515"/>
                    <a:pt x="137384" y="160876"/>
                    <a:pt x="138662" y="159599"/>
                  </a:cubicBezTo>
                  <a:lnTo>
                    <a:pt x="145052" y="153215"/>
                  </a:lnTo>
                  <a:lnTo>
                    <a:pt x="189781" y="197903"/>
                  </a:lnTo>
                  <a:cubicBezTo>
                    <a:pt x="191059" y="199180"/>
                    <a:pt x="192976" y="199818"/>
                    <a:pt x="194254" y="199818"/>
                  </a:cubicBezTo>
                  <a:cubicBezTo>
                    <a:pt x="196171" y="199818"/>
                    <a:pt x="197449" y="199180"/>
                    <a:pt x="198727" y="197903"/>
                  </a:cubicBezTo>
                  <a:cubicBezTo>
                    <a:pt x="201283" y="195350"/>
                    <a:pt x="201283" y="191519"/>
                    <a:pt x="198727" y="188966"/>
                  </a:cubicBezTo>
                  <a:lnTo>
                    <a:pt x="154636" y="144278"/>
                  </a:lnTo>
                  <a:close/>
                </a:path>
              </a:pathLst>
            </a:custGeom>
            <a:grpFill/>
            <a:ln w="6390" cap="flat">
              <a:noFill/>
              <a:prstDash val="solid"/>
              <a:miter/>
            </a:ln>
          </p:spPr>
          <p:txBody>
            <a:bodyPr rtlCol="0" anchor="ctr"/>
            <a:lstStyle/>
            <a:p>
              <a:endParaRPr lang="en-US"/>
            </a:p>
          </p:txBody>
        </p:sp>
      </p:grpSp>
      <p:grpSp>
        <p:nvGrpSpPr>
          <p:cNvPr id="14" name="Graphic 4">
            <a:extLst>
              <a:ext uri="{FF2B5EF4-FFF2-40B4-BE49-F238E27FC236}">
                <a16:creationId xmlns:a16="http://schemas.microsoft.com/office/drawing/2014/main" id="{218BB56F-1B6C-FDA8-D435-3B7E6168C128}"/>
              </a:ext>
            </a:extLst>
          </p:cNvPr>
          <p:cNvGrpSpPr/>
          <p:nvPr/>
        </p:nvGrpSpPr>
        <p:grpSpPr>
          <a:xfrm>
            <a:off x="7759609" y="2472467"/>
            <a:ext cx="1828800" cy="1828800"/>
            <a:chOff x="5708769" y="2371173"/>
            <a:chExt cx="361674" cy="361333"/>
          </a:xfrm>
          <a:solidFill>
            <a:srgbClr val="98D5E8"/>
          </a:solidFill>
        </p:grpSpPr>
        <p:sp>
          <p:nvSpPr>
            <p:cNvPr id="15" name="Graphic 4">
              <a:extLst>
                <a:ext uri="{FF2B5EF4-FFF2-40B4-BE49-F238E27FC236}">
                  <a16:creationId xmlns:a16="http://schemas.microsoft.com/office/drawing/2014/main" id="{915A8489-34C7-C195-618F-EA874150A363}"/>
                </a:ext>
              </a:extLst>
            </p:cNvPr>
            <p:cNvSpPr/>
            <p:nvPr/>
          </p:nvSpPr>
          <p:spPr>
            <a:xfrm>
              <a:off x="5708769" y="2371173"/>
              <a:ext cx="361674" cy="361333"/>
            </a:xfrm>
            <a:custGeom>
              <a:avLst/>
              <a:gdLst>
                <a:gd name="connsiteX0" fmla="*/ 180835 w 361674"/>
                <a:gd name="connsiteY0" fmla="*/ 349204 h 361333"/>
                <a:gd name="connsiteX1" fmla="*/ 12780 w 361674"/>
                <a:gd name="connsiteY1" fmla="*/ 181305 h 361333"/>
                <a:gd name="connsiteX2" fmla="*/ 180835 w 361674"/>
                <a:gd name="connsiteY2" fmla="*/ 13406 h 361333"/>
                <a:gd name="connsiteX3" fmla="*/ 348890 w 361674"/>
                <a:gd name="connsiteY3" fmla="*/ 181305 h 361333"/>
                <a:gd name="connsiteX4" fmla="*/ 180835 w 361674"/>
                <a:gd name="connsiteY4" fmla="*/ 349204 h 361333"/>
                <a:gd name="connsiteX5" fmla="*/ 180835 w 361674"/>
                <a:gd name="connsiteY5" fmla="*/ 0 h 361333"/>
                <a:gd name="connsiteX6" fmla="*/ 0 w 361674"/>
                <a:gd name="connsiteY6" fmla="*/ 180667 h 361333"/>
                <a:gd name="connsiteX7" fmla="*/ 180835 w 361674"/>
                <a:gd name="connsiteY7" fmla="*/ 361333 h 361333"/>
                <a:gd name="connsiteX8" fmla="*/ 361670 w 361674"/>
                <a:gd name="connsiteY8" fmla="*/ 180667 h 361333"/>
                <a:gd name="connsiteX9" fmla="*/ 180835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9529" y="273873"/>
                    <a:pt x="273489" y="349204"/>
                    <a:pt x="180835" y="349204"/>
                  </a:cubicBezTo>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path>
              </a:pathLst>
            </a:custGeom>
            <a:grpFill/>
            <a:ln w="6390" cap="flat">
              <a:noFill/>
              <a:prstDash val="solid"/>
              <a:miter/>
            </a:ln>
          </p:spPr>
          <p:txBody>
            <a:bodyPr rtlCol="0" anchor="ctr"/>
            <a:lstStyle/>
            <a:p>
              <a:endParaRPr lang="en-US"/>
            </a:p>
          </p:txBody>
        </p:sp>
        <p:sp>
          <p:nvSpPr>
            <p:cNvPr id="17" name="Graphic 4">
              <a:extLst>
                <a:ext uri="{FF2B5EF4-FFF2-40B4-BE49-F238E27FC236}">
                  <a16:creationId xmlns:a16="http://schemas.microsoft.com/office/drawing/2014/main" id="{63427B45-7C88-FBE4-D55B-AF54FCEE9EAF}"/>
                </a:ext>
              </a:extLst>
            </p:cNvPr>
            <p:cNvSpPr/>
            <p:nvPr/>
          </p:nvSpPr>
          <p:spPr>
            <a:xfrm>
              <a:off x="5765480" y="2427991"/>
              <a:ext cx="168854" cy="168537"/>
            </a:xfrm>
            <a:custGeom>
              <a:avLst/>
              <a:gdLst>
                <a:gd name="connsiteX0" fmla="*/ 127958 w 168854"/>
                <a:gd name="connsiteY0" fmla="*/ 67032 h 168537"/>
                <a:gd name="connsiteX1" fmla="*/ 74922 w 168854"/>
                <a:gd name="connsiteY1" fmla="*/ 67032 h 168537"/>
                <a:gd name="connsiteX2" fmla="*/ 120930 w 168854"/>
                <a:gd name="connsiteY2" fmla="*/ 21067 h 168537"/>
                <a:gd name="connsiteX3" fmla="*/ 147767 w 168854"/>
                <a:gd name="connsiteY3" fmla="*/ 47880 h 168537"/>
                <a:gd name="connsiteX4" fmla="*/ 127958 w 168854"/>
                <a:gd name="connsiteY4" fmla="*/ 67032 h 168537"/>
                <a:gd name="connsiteX5" fmla="*/ 44889 w 168854"/>
                <a:gd name="connsiteY5" fmla="*/ 150662 h 168537"/>
                <a:gd name="connsiteX6" fmla="*/ 18051 w 168854"/>
                <a:gd name="connsiteY6" fmla="*/ 150662 h 168537"/>
                <a:gd name="connsiteX7" fmla="*/ 18051 w 168854"/>
                <a:gd name="connsiteY7" fmla="*/ 123849 h 168537"/>
                <a:gd name="connsiteX8" fmla="*/ 62142 w 168854"/>
                <a:gd name="connsiteY8" fmla="*/ 79800 h 168537"/>
                <a:gd name="connsiteX9" fmla="*/ 115179 w 168854"/>
                <a:gd name="connsiteY9" fmla="*/ 79800 h 168537"/>
                <a:gd name="connsiteX10" fmla="*/ 44889 w 168854"/>
                <a:gd name="connsiteY10" fmla="*/ 150662 h 168537"/>
                <a:gd name="connsiteX11" fmla="*/ 157991 w 168854"/>
                <a:gd name="connsiteY11" fmla="*/ 58094 h 168537"/>
                <a:gd name="connsiteX12" fmla="*/ 162464 w 168854"/>
                <a:gd name="connsiteY12" fmla="*/ 60009 h 168537"/>
                <a:gd name="connsiteX13" fmla="*/ 166937 w 168854"/>
                <a:gd name="connsiteY13" fmla="*/ 58094 h 168537"/>
                <a:gd name="connsiteX14" fmla="*/ 166937 w 168854"/>
                <a:gd name="connsiteY14" fmla="*/ 49157 h 168537"/>
                <a:gd name="connsiteX15" fmla="*/ 119652 w 168854"/>
                <a:gd name="connsiteY15" fmla="*/ 1915 h 168537"/>
                <a:gd name="connsiteX16" fmla="*/ 110706 w 168854"/>
                <a:gd name="connsiteY16" fmla="*/ 1915 h 168537"/>
                <a:gd name="connsiteX17" fmla="*/ 110706 w 168854"/>
                <a:gd name="connsiteY17" fmla="*/ 10853 h 168537"/>
                <a:gd name="connsiteX18" fmla="*/ 111984 w 168854"/>
                <a:gd name="connsiteY18" fmla="*/ 12130 h 168537"/>
                <a:gd name="connsiteX19" fmla="*/ 9106 w 168854"/>
                <a:gd name="connsiteY19" fmla="*/ 114912 h 168537"/>
                <a:gd name="connsiteX20" fmla="*/ 9106 w 168854"/>
                <a:gd name="connsiteY20" fmla="*/ 159600 h 168537"/>
                <a:gd name="connsiteX21" fmla="*/ 31471 w 168854"/>
                <a:gd name="connsiteY21" fmla="*/ 168537 h 168537"/>
                <a:gd name="connsiteX22" fmla="*/ 53835 w 168854"/>
                <a:gd name="connsiteY22" fmla="*/ 159600 h 168537"/>
                <a:gd name="connsiteX23" fmla="*/ 156713 w 168854"/>
                <a:gd name="connsiteY23" fmla="*/ 56817 h 168537"/>
                <a:gd name="connsiteX24" fmla="*/ 157991 w 168854"/>
                <a:gd name="connsiteY24" fmla="*/ 58094 h 16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8854" h="168537">
                  <a:moveTo>
                    <a:pt x="127958" y="67032"/>
                  </a:moveTo>
                  <a:lnTo>
                    <a:pt x="74922" y="67032"/>
                  </a:lnTo>
                  <a:lnTo>
                    <a:pt x="120930" y="21067"/>
                  </a:lnTo>
                  <a:lnTo>
                    <a:pt x="147767" y="47880"/>
                  </a:lnTo>
                  <a:lnTo>
                    <a:pt x="127958" y="67032"/>
                  </a:lnTo>
                  <a:close/>
                  <a:moveTo>
                    <a:pt x="44889" y="150662"/>
                  </a:moveTo>
                  <a:cubicBezTo>
                    <a:pt x="37221" y="157684"/>
                    <a:pt x="25719" y="157684"/>
                    <a:pt x="18051" y="150662"/>
                  </a:cubicBezTo>
                  <a:cubicBezTo>
                    <a:pt x="10384" y="143001"/>
                    <a:pt x="10384" y="131510"/>
                    <a:pt x="18051" y="123849"/>
                  </a:cubicBezTo>
                  <a:lnTo>
                    <a:pt x="62142" y="79800"/>
                  </a:lnTo>
                  <a:lnTo>
                    <a:pt x="115179" y="79800"/>
                  </a:lnTo>
                  <a:lnTo>
                    <a:pt x="44889" y="150662"/>
                  </a:lnTo>
                  <a:close/>
                  <a:moveTo>
                    <a:pt x="157991" y="58094"/>
                  </a:moveTo>
                  <a:cubicBezTo>
                    <a:pt x="159269" y="59371"/>
                    <a:pt x="161186" y="60009"/>
                    <a:pt x="162464" y="60009"/>
                  </a:cubicBezTo>
                  <a:cubicBezTo>
                    <a:pt x="164381" y="60009"/>
                    <a:pt x="165659" y="59371"/>
                    <a:pt x="166937" y="58094"/>
                  </a:cubicBezTo>
                  <a:cubicBezTo>
                    <a:pt x="169493" y="55541"/>
                    <a:pt x="169493" y="51710"/>
                    <a:pt x="166937" y="49157"/>
                  </a:cubicBezTo>
                  <a:lnTo>
                    <a:pt x="119652" y="1915"/>
                  </a:lnTo>
                  <a:cubicBezTo>
                    <a:pt x="117095" y="-638"/>
                    <a:pt x="113262" y="-638"/>
                    <a:pt x="110706" y="1915"/>
                  </a:cubicBezTo>
                  <a:cubicBezTo>
                    <a:pt x="108150" y="4469"/>
                    <a:pt x="108150" y="8299"/>
                    <a:pt x="110706" y="10853"/>
                  </a:cubicBezTo>
                  <a:lnTo>
                    <a:pt x="111984" y="12130"/>
                  </a:lnTo>
                  <a:lnTo>
                    <a:pt x="9106" y="114912"/>
                  </a:lnTo>
                  <a:cubicBezTo>
                    <a:pt x="-3035" y="127041"/>
                    <a:pt x="-3035" y="147470"/>
                    <a:pt x="9106" y="159600"/>
                  </a:cubicBezTo>
                  <a:cubicBezTo>
                    <a:pt x="15496" y="165984"/>
                    <a:pt x="23164" y="168537"/>
                    <a:pt x="31471" y="168537"/>
                  </a:cubicBezTo>
                  <a:cubicBezTo>
                    <a:pt x="39777" y="168537"/>
                    <a:pt x="47445" y="165345"/>
                    <a:pt x="53835" y="159600"/>
                  </a:cubicBezTo>
                  <a:lnTo>
                    <a:pt x="156713" y="56817"/>
                  </a:lnTo>
                  <a:lnTo>
                    <a:pt x="157991" y="58094"/>
                  </a:lnTo>
                  <a:close/>
                </a:path>
              </a:pathLst>
            </a:custGeom>
            <a:grpFill/>
            <a:ln w="6390" cap="flat">
              <a:noFill/>
              <a:prstDash val="solid"/>
              <a:miter/>
            </a:ln>
          </p:spPr>
          <p:txBody>
            <a:bodyPr rtlCol="0" anchor="ctr"/>
            <a:lstStyle/>
            <a:p>
              <a:endParaRPr lang="en-US"/>
            </a:p>
          </p:txBody>
        </p:sp>
        <p:sp>
          <p:nvSpPr>
            <p:cNvPr id="18" name="Graphic 4">
              <a:extLst>
                <a:ext uri="{FF2B5EF4-FFF2-40B4-BE49-F238E27FC236}">
                  <a16:creationId xmlns:a16="http://schemas.microsoft.com/office/drawing/2014/main" id="{9886778B-F9DC-5DF5-7448-56269715A43A}"/>
                </a:ext>
              </a:extLst>
            </p:cNvPr>
            <p:cNvSpPr/>
            <p:nvPr/>
          </p:nvSpPr>
          <p:spPr>
            <a:xfrm>
              <a:off x="5844236" y="2507152"/>
              <a:ext cx="169422" cy="168537"/>
            </a:xfrm>
            <a:custGeom>
              <a:avLst/>
              <a:gdLst>
                <a:gd name="connsiteX0" fmla="*/ 82430 w 169422"/>
                <a:gd name="connsiteY0" fmla="*/ 114273 h 168537"/>
                <a:gd name="connsiteX1" fmla="*/ 28755 w 169422"/>
                <a:gd name="connsiteY1" fmla="*/ 114273 h 168537"/>
                <a:gd name="connsiteX2" fmla="*/ 121409 w 169422"/>
                <a:gd name="connsiteY2" fmla="*/ 21706 h 168537"/>
                <a:gd name="connsiteX3" fmla="*/ 148247 w 169422"/>
                <a:gd name="connsiteY3" fmla="*/ 48518 h 168537"/>
                <a:gd name="connsiteX4" fmla="*/ 82430 w 169422"/>
                <a:gd name="connsiteY4" fmla="*/ 114273 h 168537"/>
                <a:gd name="connsiteX5" fmla="*/ 45369 w 169422"/>
                <a:gd name="connsiteY5" fmla="*/ 150662 h 168537"/>
                <a:gd name="connsiteX6" fmla="*/ 18531 w 169422"/>
                <a:gd name="connsiteY6" fmla="*/ 150662 h 168537"/>
                <a:gd name="connsiteX7" fmla="*/ 12780 w 169422"/>
                <a:gd name="connsiteY7" fmla="*/ 137256 h 168537"/>
                <a:gd name="connsiteX8" fmla="*/ 15975 w 169422"/>
                <a:gd name="connsiteY8" fmla="*/ 127041 h 168537"/>
                <a:gd name="connsiteX9" fmla="*/ 69012 w 169422"/>
                <a:gd name="connsiteY9" fmla="*/ 127041 h 168537"/>
                <a:gd name="connsiteX10" fmla="*/ 45369 w 169422"/>
                <a:gd name="connsiteY10" fmla="*/ 150662 h 168537"/>
                <a:gd name="connsiteX11" fmla="*/ 168056 w 169422"/>
                <a:gd name="connsiteY11" fmla="*/ 49795 h 168537"/>
                <a:gd name="connsiteX12" fmla="*/ 120131 w 169422"/>
                <a:gd name="connsiteY12" fmla="*/ 1915 h 168537"/>
                <a:gd name="connsiteX13" fmla="*/ 111185 w 169422"/>
                <a:gd name="connsiteY13" fmla="*/ 1915 h 168537"/>
                <a:gd name="connsiteX14" fmla="*/ 111185 w 169422"/>
                <a:gd name="connsiteY14" fmla="*/ 10853 h 168537"/>
                <a:gd name="connsiteX15" fmla="*/ 112463 w 169422"/>
                <a:gd name="connsiteY15" fmla="*/ 12130 h 168537"/>
                <a:gd name="connsiteX16" fmla="*/ 9585 w 169422"/>
                <a:gd name="connsiteY16" fmla="*/ 114912 h 168537"/>
                <a:gd name="connsiteX17" fmla="*/ 0 w 169422"/>
                <a:gd name="connsiteY17" fmla="*/ 137256 h 168537"/>
                <a:gd name="connsiteX18" fmla="*/ 9585 w 169422"/>
                <a:gd name="connsiteY18" fmla="*/ 159600 h 168537"/>
                <a:gd name="connsiteX19" fmla="*/ 31950 w 169422"/>
                <a:gd name="connsiteY19" fmla="*/ 168537 h 168537"/>
                <a:gd name="connsiteX20" fmla="*/ 54314 w 169422"/>
                <a:gd name="connsiteY20" fmla="*/ 159600 h 168537"/>
                <a:gd name="connsiteX21" fmla="*/ 157193 w 169422"/>
                <a:gd name="connsiteY21" fmla="*/ 56817 h 168537"/>
                <a:gd name="connsiteX22" fmla="*/ 158471 w 169422"/>
                <a:gd name="connsiteY22" fmla="*/ 58094 h 168537"/>
                <a:gd name="connsiteX23" fmla="*/ 162943 w 169422"/>
                <a:gd name="connsiteY23" fmla="*/ 60009 h 168537"/>
                <a:gd name="connsiteX24" fmla="*/ 167416 w 169422"/>
                <a:gd name="connsiteY24" fmla="*/ 58094 h 168537"/>
                <a:gd name="connsiteX25" fmla="*/ 168056 w 169422"/>
                <a:gd name="connsiteY25" fmla="*/ 49795 h 16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9422" h="168537">
                  <a:moveTo>
                    <a:pt x="82430" y="114273"/>
                  </a:moveTo>
                  <a:lnTo>
                    <a:pt x="28755" y="114273"/>
                  </a:lnTo>
                  <a:lnTo>
                    <a:pt x="121409" y="21706"/>
                  </a:lnTo>
                  <a:lnTo>
                    <a:pt x="148247" y="48518"/>
                  </a:lnTo>
                  <a:lnTo>
                    <a:pt x="82430" y="114273"/>
                  </a:lnTo>
                  <a:close/>
                  <a:moveTo>
                    <a:pt x="45369" y="150662"/>
                  </a:moveTo>
                  <a:cubicBezTo>
                    <a:pt x="37701" y="157684"/>
                    <a:pt x="26199" y="158323"/>
                    <a:pt x="18531" y="150662"/>
                  </a:cubicBezTo>
                  <a:cubicBezTo>
                    <a:pt x="14697" y="146832"/>
                    <a:pt x="12780" y="142363"/>
                    <a:pt x="12780" y="137256"/>
                  </a:cubicBezTo>
                  <a:cubicBezTo>
                    <a:pt x="12780" y="133425"/>
                    <a:pt x="14058" y="130233"/>
                    <a:pt x="15975" y="127041"/>
                  </a:cubicBezTo>
                  <a:lnTo>
                    <a:pt x="69012" y="127041"/>
                  </a:lnTo>
                  <a:lnTo>
                    <a:pt x="45369" y="150662"/>
                  </a:lnTo>
                  <a:close/>
                  <a:moveTo>
                    <a:pt x="168056" y="49795"/>
                  </a:moveTo>
                  <a:lnTo>
                    <a:pt x="120131" y="1915"/>
                  </a:lnTo>
                  <a:cubicBezTo>
                    <a:pt x="117575" y="-638"/>
                    <a:pt x="113741" y="-638"/>
                    <a:pt x="111185" y="1915"/>
                  </a:cubicBezTo>
                  <a:cubicBezTo>
                    <a:pt x="108629" y="4469"/>
                    <a:pt x="108629" y="8299"/>
                    <a:pt x="111185" y="10853"/>
                  </a:cubicBezTo>
                  <a:lnTo>
                    <a:pt x="112463" y="12130"/>
                  </a:lnTo>
                  <a:lnTo>
                    <a:pt x="9585" y="114912"/>
                  </a:lnTo>
                  <a:cubicBezTo>
                    <a:pt x="3834" y="120657"/>
                    <a:pt x="0" y="128956"/>
                    <a:pt x="0" y="137256"/>
                  </a:cubicBezTo>
                  <a:cubicBezTo>
                    <a:pt x="0" y="145555"/>
                    <a:pt x="3195" y="153854"/>
                    <a:pt x="9585" y="159600"/>
                  </a:cubicBezTo>
                  <a:cubicBezTo>
                    <a:pt x="15975" y="165984"/>
                    <a:pt x="23643" y="168537"/>
                    <a:pt x="31950" y="168537"/>
                  </a:cubicBezTo>
                  <a:cubicBezTo>
                    <a:pt x="40257" y="168537"/>
                    <a:pt x="47925" y="165345"/>
                    <a:pt x="54314" y="159600"/>
                  </a:cubicBezTo>
                  <a:lnTo>
                    <a:pt x="157193" y="56817"/>
                  </a:lnTo>
                  <a:lnTo>
                    <a:pt x="158471" y="58094"/>
                  </a:lnTo>
                  <a:cubicBezTo>
                    <a:pt x="159748" y="59371"/>
                    <a:pt x="161666" y="60009"/>
                    <a:pt x="162943" y="60009"/>
                  </a:cubicBezTo>
                  <a:cubicBezTo>
                    <a:pt x="164861" y="60009"/>
                    <a:pt x="166138" y="59371"/>
                    <a:pt x="167416" y="58094"/>
                  </a:cubicBezTo>
                  <a:cubicBezTo>
                    <a:pt x="169973" y="56179"/>
                    <a:pt x="169973" y="52349"/>
                    <a:pt x="168056" y="49795"/>
                  </a:cubicBezTo>
                </a:path>
              </a:pathLst>
            </a:custGeom>
            <a:grpFill/>
            <a:ln w="6390" cap="flat">
              <a:noFill/>
              <a:prstDash val="solid"/>
              <a:miter/>
            </a:ln>
          </p:spPr>
          <p:txBody>
            <a:bodyPr rtlCol="0" anchor="ctr"/>
            <a:lstStyle/>
            <a:p>
              <a:endParaRPr lang="en-US"/>
            </a:p>
          </p:txBody>
        </p:sp>
      </p:grpSp>
      <p:grpSp>
        <p:nvGrpSpPr>
          <p:cNvPr id="19" name="Graphic 4">
            <a:extLst>
              <a:ext uri="{FF2B5EF4-FFF2-40B4-BE49-F238E27FC236}">
                <a16:creationId xmlns:a16="http://schemas.microsoft.com/office/drawing/2014/main" id="{47A9881D-76E2-0DE6-B03C-D61B4EDB3BDE}"/>
              </a:ext>
            </a:extLst>
          </p:cNvPr>
          <p:cNvGrpSpPr/>
          <p:nvPr/>
        </p:nvGrpSpPr>
        <p:grpSpPr>
          <a:xfrm>
            <a:off x="8845469" y="3605497"/>
            <a:ext cx="1828800" cy="1828800"/>
            <a:chOff x="5708769" y="2855717"/>
            <a:chExt cx="361670" cy="361333"/>
          </a:xfrm>
          <a:solidFill>
            <a:srgbClr val="1D4289"/>
          </a:solidFill>
        </p:grpSpPr>
        <p:sp>
          <p:nvSpPr>
            <p:cNvPr id="20" name="Graphic 4">
              <a:extLst>
                <a:ext uri="{FF2B5EF4-FFF2-40B4-BE49-F238E27FC236}">
                  <a16:creationId xmlns:a16="http://schemas.microsoft.com/office/drawing/2014/main" id="{14D3B4C8-0A0A-D727-E35E-BE3C6FA2F30E}"/>
                </a:ext>
              </a:extLst>
            </p:cNvPr>
            <p:cNvSpPr/>
            <p:nvPr/>
          </p:nvSpPr>
          <p:spPr>
            <a:xfrm>
              <a:off x="5708769" y="2855717"/>
              <a:ext cx="361670" cy="361333"/>
            </a:xfrm>
            <a:custGeom>
              <a:avLst/>
              <a:gdLst>
                <a:gd name="connsiteX0" fmla="*/ 180835 w 361670"/>
                <a:gd name="connsiteY0" fmla="*/ 349204 h 361333"/>
                <a:gd name="connsiteX1" fmla="*/ 12780 w 361670"/>
                <a:gd name="connsiteY1" fmla="*/ 181305 h 361333"/>
                <a:gd name="connsiteX2" fmla="*/ 180835 w 361670"/>
                <a:gd name="connsiteY2" fmla="*/ 13406 h 361333"/>
                <a:gd name="connsiteX3" fmla="*/ 348890 w 361670"/>
                <a:gd name="connsiteY3" fmla="*/ 180667 h 361333"/>
                <a:gd name="connsiteX4" fmla="*/ 180835 w 361670"/>
                <a:gd name="connsiteY4" fmla="*/ 349204 h 361333"/>
                <a:gd name="connsiteX5" fmla="*/ 180835 w 361670"/>
                <a:gd name="connsiteY5" fmla="*/ 0 h 361333"/>
                <a:gd name="connsiteX6" fmla="*/ 0 w 361670"/>
                <a:gd name="connsiteY6" fmla="*/ 180667 h 361333"/>
                <a:gd name="connsiteX7" fmla="*/ 180835 w 361670"/>
                <a:gd name="connsiteY7" fmla="*/ 361333 h 361333"/>
                <a:gd name="connsiteX8" fmla="*/ 361670 w 361670"/>
                <a:gd name="connsiteY8" fmla="*/ 180667 h 361333"/>
                <a:gd name="connsiteX9" fmla="*/ 180835 w 361670"/>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349204"/>
                  </a:moveTo>
                  <a:cubicBezTo>
                    <a:pt x="88181" y="349204"/>
                    <a:pt x="12780" y="273873"/>
                    <a:pt x="12780" y="181305"/>
                  </a:cubicBezTo>
                  <a:cubicBezTo>
                    <a:pt x="12780" y="88737"/>
                    <a:pt x="88181" y="13406"/>
                    <a:pt x="180835" y="13406"/>
                  </a:cubicBezTo>
                  <a:cubicBezTo>
                    <a:pt x="273489" y="13406"/>
                    <a:pt x="348890" y="88099"/>
                    <a:pt x="348890" y="180667"/>
                  </a:cubicBezTo>
                  <a:cubicBezTo>
                    <a:pt x="348890" y="273234"/>
                    <a:pt x="273489" y="349204"/>
                    <a:pt x="180835" y="349204"/>
                  </a:cubicBezTo>
                  <a:moveTo>
                    <a:pt x="180835" y="0"/>
                  </a:moveTo>
                  <a:cubicBezTo>
                    <a:pt x="80513" y="0"/>
                    <a:pt x="0" y="81076"/>
                    <a:pt x="0" y="180667"/>
                  </a:cubicBezTo>
                  <a:cubicBezTo>
                    <a:pt x="0" y="280895"/>
                    <a:pt x="81152" y="361333"/>
                    <a:pt x="180835" y="361333"/>
                  </a:cubicBezTo>
                  <a:cubicBezTo>
                    <a:pt x="280518" y="361333"/>
                    <a:pt x="361670" y="280895"/>
                    <a:pt x="361670" y="180667"/>
                  </a:cubicBezTo>
                  <a:cubicBezTo>
                    <a:pt x="361670" y="80438"/>
                    <a:pt x="281157" y="0"/>
                    <a:pt x="180835" y="0"/>
                  </a:cubicBezTo>
                </a:path>
              </a:pathLst>
            </a:custGeom>
            <a:grpFill/>
            <a:ln w="6390" cap="flat">
              <a:noFill/>
              <a:prstDash val="solid"/>
              <a:miter/>
            </a:ln>
          </p:spPr>
          <p:txBody>
            <a:bodyPr rtlCol="0" anchor="ctr"/>
            <a:lstStyle/>
            <a:p>
              <a:endParaRPr lang="en-US"/>
            </a:p>
          </p:txBody>
        </p:sp>
        <p:sp>
          <p:nvSpPr>
            <p:cNvPr id="21" name="Graphic 4">
              <a:extLst>
                <a:ext uri="{FF2B5EF4-FFF2-40B4-BE49-F238E27FC236}">
                  <a16:creationId xmlns:a16="http://schemas.microsoft.com/office/drawing/2014/main" id="{1BF4D740-197C-5240-4BF5-321F9C1204C1}"/>
                </a:ext>
              </a:extLst>
            </p:cNvPr>
            <p:cNvSpPr/>
            <p:nvPr/>
          </p:nvSpPr>
          <p:spPr>
            <a:xfrm>
              <a:off x="5810589" y="2927856"/>
              <a:ext cx="158031" cy="217055"/>
            </a:xfrm>
            <a:custGeom>
              <a:avLst/>
              <a:gdLst>
                <a:gd name="connsiteX0" fmla="*/ 16395 w 158031"/>
                <a:gd name="connsiteY0" fmla="*/ 204287 h 217055"/>
                <a:gd name="connsiteX1" fmla="*/ 38120 w 158031"/>
                <a:gd name="connsiteY1" fmla="*/ 158961 h 217055"/>
                <a:gd name="connsiteX2" fmla="*/ 121189 w 158031"/>
                <a:gd name="connsiteY2" fmla="*/ 158961 h 217055"/>
                <a:gd name="connsiteX3" fmla="*/ 142915 w 158031"/>
                <a:gd name="connsiteY3" fmla="*/ 204287 h 217055"/>
                <a:gd name="connsiteX4" fmla="*/ 16395 w 158031"/>
                <a:gd name="connsiteY4" fmla="*/ 204287 h 217055"/>
                <a:gd name="connsiteX5" fmla="*/ 70070 w 158031"/>
                <a:gd name="connsiteY5" fmla="*/ 89376 h 217055"/>
                <a:gd name="connsiteX6" fmla="*/ 70709 w 158031"/>
                <a:gd name="connsiteY6" fmla="*/ 86822 h 217055"/>
                <a:gd name="connsiteX7" fmla="*/ 70709 w 158031"/>
                <a:gd name="connsiteY7" fmla="*/ 12768 h 217055"/>
                <a:gd name="connsiteX8" fmla="*/ 87323 w 158031"/>
                <a:gd name="connsiteY8" fmla="*/ 12768 h 217055"/>
                <a:gd name="connsiteX9" fmla="*/ 87323 w 158031"/>
                <a:gd name="connsiteY9" fmla="*/ 86822 h 217055"/>
                <a:gd name="connsiteX10" fmla="*/ 87962 w 158031"/>
                <a:gd name="connsiteY10" fmla="*/ 89376 h 217055"/>
                <a:gd name="connsiteX11" fmla="*/ 114800 w 158031"/>
                <a:gd name="connsiteY11" fmla="*/ 145555 h 217055"/>
                <a:gd name="connsiteX12" fmla="*/ 43871 w 158031"/>
                <a:gd name="connsiteY12" fmla="*/ 145555 h 217055"/>
                <a:gd name="connsiteX13" fmla="*/ 70070 w 158031"/>
                <a:gd name="connsiteY13" fmla="*/ 89376 h 217055"/>
                <a:gd name="connsiteX14" fmla="*/ 100103 w 158031"/>
                <a:gd name="connsiteY14" fmla="*/ 85545 h 217055"/>
                <a:gd name="connsiteX15" fmla="*/ 100103 w 158031"/>
                <a:gd name="connsiteY15" fmla="*/ 12768 h 217055"/>
                <a:gd name="connsiteX16" fmla="*/ 100742 w 158031"/>
                <a:gd name="connsiteY16" fmla="*/ 12768 h 217055"/>
                <a:gd name="connsiteX17" fmla="*/ 107132 w 158031"/>
                <a:gd name="connsiteY17" fmla="*/ 6384 h 217055"/>
                <a:gd name="connsiteX18" fmla="*/ 100742 w 158031"/>
                <a:gd name="connsiteY18" fmla="*/ 0 h 217055"/>
                <a:gd name="connsiteX19" fmla="*/ 57290 w 158031"/>
                <a:gd name="connsiteY19" fmla="*/ 0 h 217055"/>
                <a:gd name="connsiteX20" fmla="*/ 50900 w 158031"/>
                <a:gd name="connsiteY20" fmla="*/ 6384 h 217055"/>
                <a:gd name="connsiteX21" fmla="*/ 57290 w 158031"/>
                <a:gd name="connsiteY21" fmla="*/ 12768 h 217055"/>
                <a:gd name="connsiteX22" fmla="*/ 57929 w 158031"/>
                <a:gd name="connsiteY22" fmla="*/ 12768 h 217055"/>
                <a:gd name="connsiteX23" fmla="*/ 57929 w 158031"/>
                <a:gd name="connsiteY23" fmla="*/ 84907 h 217055"/>
                <a:gd name="connsiteX24" fmla="*/ 420 w 158031"/>
                <a:gd name="connsiteY24" fmla="*/ 207479 h 217055"/>
                <a:gd name="connsiteX25" fmla="*/ 1059 w 158031"/>
                <a:gd name="connsiteY25" fmla="*/ 213863 h 217055"/>
                <a:gd name="connsiteX26" fmla="*/ 6171 w 158031"/>
                <a:gd name="connsiteY26" fmla="*/ 217055 h 217055"/>
                <a:gd name="connsiteX27" fmla="*/ 151861 w 158031"/>
                <a:gd name="connsiteY27" fmla="*/ 217055 h 217055"/>
                <a:gd name="connsiteX28" fmla="*/ 156973 w 158031"/>
                <a:gd name="connsiteY28" fmla="*/ 213863 h 217055"/>
                <a:gd name="connsiteX29" fmla="*/ 157612 w 158031"/>
                <a:gd name="connsiteY29" fmla="*/ 207479 h 217055"/>
                <a:gd name="connsiteX30" fmla="*/ 100103 w 158031"/>
                <a:gd name="connsiteY30" fmla="*/ 85545 h 21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8031" h="217055">
                  <a:moveTo>
                    <a:pt x="16395" y="204287"/>
                  </a:moveTo>
                  <a:lnTo>
                    <a:pt x="38120" y="158961"/>
                  </a:lnTo>
                  <a:lnTo>
                    <a:pt x="121189" y="158961"/>
                  </a:lnTo>
                  <a:lnTo>
                    <a:pt x="142915" y="204287"/>
                  </a:lnTo>
                  <a:lnTo>
                    <a:pt x="16395" y="204287"/>
                  </a:lnTo>
                  <a:close/>
                  <a:moveTo>
                    <a:pt x="70070" y="89376"/>
                  </a:moveTo>
                  <a:cubicBezTo>
                    <a:pt x="70709" y="88737"/>
                    <a:pt x="70709" y="87461"/>
                    <a:pt x="70709" y="86822"/>
                  </a:cubicBezTo>
                  <a:lnTo>
                    <a:pt x="70709" y="12768"/>
                  </a:lnTo>
                  <a:lnTo>
                    <a:pt x="87323" y="12768"/>
                  </a:lnTo>
                  <a:lnTo>
                    <a:pt x="87323" y="86822"/>
                  </a:lnTo>
                  <a:cubicBezTo>
                    <a:pt x="87323" y="87461"/>
                    <a:pt x="87323" y="88737"/>
                    <a:pt x="87962" y="89376"/>
                  </a:cubicBezTo>
                  <a:lnTo>
                    <a:pt x="114800" y="145555"/>
                  </a:lnTo>
                  <a:lnTo>
                    <a:pt x="43871" y="145555"/>
                  </a:lnTo>
                  <a:lnTo>
                    <a:pt x="70070" y="89376"/>
                  </a:lnTo>
                  <a:close/>
                  <a:moveTo>
                    <a:pt x="100103" y="85545"/>
                  </a:moveTo>
                  <a:lnTo>
                    <a:pt x="100103" y="12768"/>
                  </a:lnTo>
                  <a:lnTo>
                    <a:pt x="100742" y="12768"/>
                  </a:lnTo>
                  <a:cubicBezTo>
                    <a:pt x="104576" y="12768"/>
                    <a:pt x="107132" y="10214"/>
                    <a:pt x="107132" y="6384"/>
                  </a:cubicBezTo>
                  <a:cubicBezTo>
                    <a:pt x="107132" y="2554"/>
                    <a:pt x="104576" y="0"/>
                    <a:pt x="100742" y="0"/>
                  </a:cubicBezTo>
                  <a:lnTo>
                    <a:pt x="57290" y="0"/>
                  </a:lnTo>
                  <a:cubicBezTo>
                    <a:pt x="53456" y="0"/>
                    <a:pt x="50900" y="2554"/>
                    <a:pt x="50900" y="6384"/>
                  </a:cubicBezTo>
                  <a:cubicBezTo>
                    <a:pt x="50900" y="10214"/>
                    <a:pt x="53456" y="12768"/>
                    <a:pt x="57290" y="12768"/>
                  </a:cubicBezTo>
                  <a:lnTo>
                    <a:pt x="57929" y="12768"/>
                  </a:lnTo>
                  <a:lnTo>
                    <a:pt x="57929" y="84907"/>
                  </a:lnTo>
                  <a:lnTo>
                    <a:pt x="420" y="207479"/>
                  </a:lnTo>
                  <a:cubicBezTo>
                    <a:pt x="-219" y="209395"/>
                    <a:pt x="-219" y="211948"/>
                    <a:pt x="1059" y="213863"/>
                  </a:cubicBezTo>
                  <a:cubicBezTo>
                    <a:pt x="2337" y="215779"/>
                    <a:pt x="4254" y="217055"/>
                    <a:pt x="6171" y="217055"/>
                  </a:cubicBezTo>
                  <a:lnTo>
                    <a:pt x="151861" y="217055"/>
                  </a:lnTo>
                  <a:cubicBezTo>
                    <a:pt x="153778" y="217055"/>
                    <a:pt x="156334" y="215779"/>
                    <a:pt x="156973" y="213863"/>
                  </a:cubicBezTo>
                  <a:cubicBezTo>
                    <a:pt x="158251" y="211948"/>
                    <a:pt x="158251" y="209395"/>
                    <a:pt x="157612" y="207479"/>
                  </a:cubicBezTo>
                  <a:lnTo>
                    <a:pt x="100103" y="85545"/>
                  </a:lnTo>
                  <a:close/>
                </a:path>
              </a:pathLst>
            </a:custGeom>
            <a:grpFill/>
            <a:ln w="6390" cap="flat">
              <a:noFill/>
              <a:prstDash val="solid"/>
              <a:miter/>
            </a:ln>
          </p:spPr>
          <p:txBody>
            <a:bodyPr rtlCol="0" anchor="ctr"/>
            <a:lstStyle/>
            <a:p>
              <a:endParaRPr lang="en-US"/>
            </a:p>
          </p:txBody>
        </p:sp>
      </p:grpSp>
      <p:grpSp>
        <p:nvGrpSpPr>
          <p:cNvPr id="22" name="Graphic 4">
            <a:extLst>
              <a:ext uri="{FF2B5EF4-FFF2-40B4-BE49-F238E27FC236}">
                <a16:creationId xmlns:a16="http://schemas.microsoft.com/office/drawing/2014/main" id="{60E9C83B-FDEC-4F13-5908-23B8C9AC09C0}"/>
              </a:ext>
            </a:extLst>
          </p:cNvPr>
          <p:cNvGrpSpPr/>
          <p:nvPr/>
        </p:nvGrpSpPr>
        <p:grpSpPr>
          <a:xfrm>
            <a:off x="7759609" y="4738527"/>
            <a:ext cx="1828800" cy="1828800"/>
            <a:chOff x="4661459" y="1402085"/>
            <a:chExt cx="361674" cy="361333"/>
          </a:xfrm>
          <a:solidFill>
            <a:srgbClr val="00A3E0"/>
          </a:solidFill>
        </p:grpSpPr>
        <p:sp>
          <p:nvSpPr>
            <p:cNvPr id="23" name="Graphic 4">
              <a:extLst>
                <a:ext uri="{FF2B5EF4-FFF2-40B4-BE49-F238E27FC236}">
                  <a16:creationId xmlns:a16="http://schemas.microsoft.com/office/drawing/2014/main" id="{3518C29B-9C90-A9A8-BC27-58C31AFDDD14}"/>
                </a:ext>
              </a:extLst>
            </p:cNvPr>
            <p:cNvSpPr/>
            <p:nvPr/>
          </p:nvSpPr>
          <p:spPr>
            <a:xfrm>
              <a:off x="4661459" y="1402085"/>
              <a:ext cx="361674" cy="361333"/>
            </a:xfrm>
            <a:custGeom>
              <a:avLst/>
              <a:gdLst>
                <a:gd name="connsiteX0" fmla="*/ 180835 w 361674"/>
                <a:gd name="connsiteY0" fmla="*/ 349204 h 361333"/>
                <a:gd name="connsiteX1" fmla="*/ 12780 w 361674"/>
                <a:gd name="connsiteY1" fmla="*/ 181305 h 361333"/>
                <a:gd name="connsiteX2" fmla="*/ 180835 w 361674"/>
                <a:gd name="connsiteY2" fmla="*/ 13406 h 361333"/>
                <a:gd name="connsiteX3" fmla="*/ 348890 w 361674"/>
                <a:gd name="connsiteY3" fmla="*/ 181305 h 361333"/>
                <a:gd name="connsiteX4" fmla="*/ 180835 w 361674"/>
                <a:gd name="connsiteY4" fmla="*/ 349204 h 361333"/>
                <a:gd name="connsiteX5" fmla="*/ 180835 w 361674"/>
                <a:gd name="connsiteY5" fmla="*/ 0 h 361333"/>
                <a:gd name="connsiteX6" fmla="*/ 0 w 361674"/>
                <a:gd name="connsiteY6" fmla="*/ 180667 h 361333"/>
                <a:gd name="connsiteX7" fmla="*/ 180835 w 361674"/>
                <a:gd name="connsiteY7" fmla="*/ 361333 h 361333"/>
                <a:gd name="connsiteX8" fmla="*/ 361670 w 361674"/>
                <a:gd name="connsiteY8" fmla="*/ 180667 h 361333"/>
                <a:gd name="connsiteX9" fmla="*/ 180835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5" y="349204"/>
                  </a:moveTo>
                  <a:cubicBezTo>
                    <a:pt x="88181" y="349204"/>
                    <a:pt x="12780" y="273873"/>
                    <a:pt x="12780" y="181305"/>
                  </a:cubicBezTo>
                  <a:cubicBezTo>
                    <a:pt x="12780" y="88737"/>
                    <a:pt x="88181" y="13406"/>
                    <a:pt x="180835" y="13406"/>
                  </a:cubicBezTo>
                  <a:cubicBezTo>
                    <a:pt x="273489" y="13406"/>
                    <a:pt x="348890" y="88737"/>
                    <a:pt x="348890" y="181305"/>
                  </a:cubicBezTo>
                  <a:cubicBezTo>
                    <a:pt x="349530" y="273873"/>
                    <a:pt x="273489" y="349204"/>
                    <a:pt x="180835" y="349204"/>
                  </a:cubicBezTo>
                  <a:moveTo>
                    <a:pt x="180835" y="0"/>
                  </a:moveTo>
                  <a:cubicBezTo>
                    <a:pt x="80513" y="0"/>
                    <a:pt x="0" y="81077"/>
                    <a:pt x="0" y="180667"/>
                  </a:cubicBezTo>
                  <a:cubicBezTo>
                    <a:pt x="0" y="280895"/>
                    <a:pt x="81152" y="361333"/>
                    <a:pt x="180835" y="361333"/>
                  </a:cubicBezTo>
                  <a:cubicBezTo>
                    <a:pt x="281157" y="361333"/>
                    <a:pt x="361670" y="280257"/>
                    <a:pt x="361670" y="180667"/>
                  </a:cubicBezTo>
                  <a:cubicBezTo>
                    <a:pt x="362310" y="81077"/>
                    <a:pt x="281157" y="0"/>
                    <a:pt x="180835" y="0"/>
                  </a:cubicBezTo>
                </a:path>
              </a:pathLst>
            </a:custGeom>
            <a:solidFill>
              <a:srgbClr val="00A3E0"/>
            </a:solidFill>
            <a:ln w="6390"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B922635D-31B2-9865-05A1-CA21830AAE03}"/>
                </a:ext>
              </a:extLst>
            </p:cNvPr>
            <p:cNvSpPr/>
            <p:nvPr/>
          </p:nvSpPr>
          <p:spPr>
            <a:xfrm>
              <a:off x="4788619" y="1594881"/>
              <a:ext cx="143154" cy="91929"/>
            </a:xfrm>
            <a:custGeom>
              <a:avLst/>
              <a:gdLst>
                <a:gd name="connsiteX0" fmla="*/ 71567 w 143154"/>
                <a:gd name="connsiteY0" fmla="*/ 78523 h 91929"/>
                <a:gd name="connsiteX1" fmla="*/ 12780 w 143154"/>
                <a:gd name="connsiteY1" fmla="*/ 60648 h 91929"/>
                <a:gd name="connsiteX2" fmla="*/ 12780 w 143154"/>
                <a:gd name="connsiteY2" fmla="*/ 47880 h 91929"/>
                <a:gd name="connsiteX3" fmla="*/ 30672 w 143154"/>
                <a:gd name="connsiteY3" fmla="*/ 54902 h 91929"/>
                <a:gd name="connsiteX4" fmla="*/ 31310 w 143154"/>
                <a:gd name="connsiteY4" fmla="*/ 54902 h 91929"/>
                <a:gd name="connsiteX5" fmla="*/ 72206 w 143154"/>
                <a:gd name="connsiteY5" fmla="*/ 60009 h 91929"/>
                <a:gd name="connsiteX6" fmla="*/ 98405 w 143154"/>
                <a:gd name="connsiteY6" fmla="*/ 58094 h 91929"/>
                <a:gd name="connsiteX7" fmla="*/ 103517 w 143154"/>
                <a:gd name="connsiteY7" fmla="*/ 51072 h 91929"/>
                <a:gd name="connsiteX8" fmla="*/ 96488 w 143154"/>
                <a:gd name="connsiteY8" fmla="*/ 45965 h 91929"/>
                <a:gd name="connsiteX9" fmla="*/ 72206 w 143154"/>
                <a:gd name="connsiteY9" fmla="*/ 47880 h 91929"/>
                <a:gd name="connsiteX10" fmla="*/ 51758 w 143154"/>
                <a:gd name="connsiteY10" fmla="*/ 46603 h 91929"/>
                <a:gd name="connsiteX11" fmla="*/ 108629 w 143154"/>
                <a:gd name="connsiteY11" fmla="*/ 17237 h 91929"/>
                <a:gd name="connsiteX12" fmla="*/ 130994 w 143154"/>
                <a:gd name="connsiteY12" fmla="*/ 30643 h 91929"/>
                <a:gd name="connsiteX13" fmla="*/ 112463 w 143154"/>
                <a:gd name="connsiteY13" fmla="*/ 42773 h 91929"/>
                <a:gd name="connsiteX14" fmla="*/ 107990 w 143154"/>
                <a:gd name="connsiteY14" fmla="*/ 51072 h 91929"/>
                <a:gd name="connsiteX15" fmla="*/ 114380 w 143154"/>
                <a:gd name="connsiteY15" fmla="*/ 55541 h 91929"/>
                <a:gd name="connsiteX16" fmla="*/ 116297 w 143154"/>
                <a:gd name="connsiteY16" fmla="*/ 55541 h 91929"/>
                <a:gd name="connsiteX17" fmla="*/ 131633 w 143154"/>
                <a:gd name="connsiteY17" fmla="*/ 49157 h 91929"/>
                <a:gd name="connsiteX18" fmla="*/ 131633 w 143154"/>
                <a:gd name="connsiteY18" fmla="*/ 61925 h 91929"/>
                <a:gd name="connsiteX19" fmla="*/ 71567 w 143154"/>
                <a:gd name="connsiteY19" fmla="*/ 78523 h 91929"/>
                <a:gd name="connsiteX20" fmla="*/ 71567 w 143154"/>
                <a:gd name="connsiteY20" fmla="*/ 13406 h 91929"/>
                <a:gd name="connsiteX21" fmla="*/ 87542 w 143154"/>
                <a:gd name="connsiteY21" fmla="*/ 14045 h 91929"/>
                <a:gd name="connsiteX22" fmla="*/ 31950 w 143154"/>
                <a:gd name="connsiteY22" fmla="*/ 43411 h 91929"/>
                <a:gd name="connsiteX23" fmla="*/ 12780 w 143154"/>
                <a:gd name="connsiteY23" fmla="*/ 31282 h 91929"/>
                <a:gd name="connsiteX24" fmla="*/ 71567 w 143154"/>
                <a:gd name="connsiteY24" fmla="*/ 13406 h 91929"/>
                <a:gd name="connsiteX25" fmla="*/ 109268 w 143154"/>
                <a:gd name="connsiteY25" fmla="*/ 4469 h 91929"/>
                <a:gd name="connsiteX26" fmla="*/ 109268 w 143154"/>
                <a:gd name="connsiteY26" fmla="*/ 4469 h 91929"/>
                <a:gd name="connsiteX27" fmla="*/ 71567 w 143154"/>
                <a:gd name="connsiteY27" fmla="*/ 0 h 91929"/>
                <a:gd name="connsiteX28" fmla="*/ 0 w 143154"/>
                <a:gd name="connsiteY28" fmla="*/ 30643 h 91929"/>
                <a:gd name="connsiteX29" fmla="*/ 0 w 143154"/>
                <a:gd name="connsiteY29" fmla="*/ 61286 h 91929"/>
                <a:gd name="connsiteX30" fmla="*/ 71567 w 143154"/>
                <a:gd name="connsiteY30" fmla="*/ 91929 h 91929"/>
                <a:gd name="connsiteX31" fmla="*/ 143134 w 143154"/>
                <a:gd name="connsiteY31" fmla="*/ 61286 h 91929"/>
                <a:gd name="connsiteX32" fmla="*/ 143134 w 143154"/>
                <a:gd name="connsiteY32" fmla="*/ 30643 h 91929"/>
                <a:gd name="connsiteX33" fmla="*/ 109268 w 143154"/>
                <a:gd name="connsiteY33" fmla="*/ 4469 h 9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154" h="91929">
                  <a:moveTo>
                    <a:pt x="71567" y="78523"/>
                  </a:moveTo>
                  <a:cubicBezTo>
                    <a:pt x="33227" y="78523"/>
                    <a:pt x="12780" y="67032"/>
                    <a:pt x="12780" y="60648"/>
                  </a:cubicBezTo>
                  <a:lnTo>
                    <a:pt x="12780" y="47880"/>
                  </a:lnTo>
                  <a:cubicBezTo>
                    <a:pt x="17892" y="51072"/>
                    <a:pt x="23642" y="52987"/>
                    <a:pt x="30672" y="54902"/>
                  </a:cubicBezTo>
                  <a:cubicBezTo>
                    <a:pt x="30672" y="54902"/>
                    <a:pt x="30672" y="54902"/>
                    <a:pt x="31310" y="54902"/>
                  </a:cubicBezTo>
                  <a:cubicBezTo>
                    <a:pt x="43451" y="58094"/>
                    <a:pt x="57509" y="60009"/>
                    <a:pt x="72206" y="60009"/>
                  </a:cubicBezTo>
                  <a:cubicBezTo>
                    <a:pt x="81152" y="60009"/>
                    <a:pt x="90098" y="59371"/>
                    <a:pt x="98405" y="58094"/>
                  </a:cubicBezTo>
                  <a:cubicBezTo>
                    <a:pt x="101600" y="57456"/>
                    <a:pt x="104156" y="54264"/>
                    <a:pt x="103517" y="51072"/>
                  </a:cubicBezTo>
                  <a:cubicBezTo>
                    <a:pt x="102878" y="47880"/>
                    <a:pt x="99683" y="45326"/>
                    <a:pt x="96488" y="45965"/>
                  </a:cubicBezTo>
                  <a:cubicBezTo>
                    <a:pt x="88820" y="47242"/>
                    <a:pt x="80513" y="47880"/>
                    <a:pt x="72206" y="47880"/>
                  </a:cubicBezTo>
                  <a:cubicBezTo>
                    <a:pt x="64538" y="47880"/>
                    <a:pt x="58148" y="47242"/>
                    <a:pt x="51758" y="46603"/>
                  </a:cubicBezTo>
                  <a:lnTo>
                    <a:pt x="108629" y="17237"/>
                  </a:lnTo>
                  <a:cubicBezTo>
                    <a:pt x="123326" y="21067"/>
                    <a:pt x="130994" y="26813"/>
                    <a:pt x="130994" y="30643"/>
                  </a:cubicBezTo>
                  <a:cubicBezTo>
                    <a:pt x="130994" y="33835"/>
                    <a:pt x="125243" y="38942"/>
                    <a:pt x="112463" y="42773"/>
                  </a:cubicBezTo>
                  <a:cubicBezTo>
                    <a:pt x="109268" y="44050"/>
                    <a:pt x="107351" y="47242"/>
                    <a:pt x="107990" y="51072"/>
                  </a:cubicBezTo>
                  <a:cubicBezTo>
                    <a:pt x="108629" y="53626"/>
                    <a:pt x="111185" y="55541"/>
                    <a:pt x="114380" y="55541"/>
                  </a:cubicBezTo>
                  <a:cubicBezTo>
                    <a:pt x="115019" y="55541"/>
                    <a:pt x="115658" y="55541"/>
                    <a:pt x="116297" y="55541"/>
                  </a:cubicBezTo>
                  <a:cubicBezTo>
                    <a:pt x="122048" y="53626"/>
                    <a:pt x="127160" y="51710"/>
                    <a:pt x="131633" y="49157"/>
                  </a:cubicBezTo>
                  <a:lnTo>
                    <a:pt x="131633" y="61925"/>
                  </a:lnTo>
                  <a:cubicBezTo>
                    <a:pt x="130994" y="67032"/>
                    <a:pt x="109907" y="78523"/>
                    <a:pt x="71567" y="78523"/>
                  </a:cubicBezTo>
                  <a:moveTo>
                    <a:pt x="71567" y="13406"/>
                  </a:moveTo>
                  <a:cubicBezTo>
                    <a:pt x="77318" y="13406"/>
                    <a:pt x="82430" y="13406"/>
                    <a:pt x="87542" y="14045"/>
                  </a:cubicBezTo>
                  <a:lnTo>
                    <a:pt x="31950" y="43411"/>
                  </a:lnTo>
                  <a:cubicBezTo>
                    <a:pt x="19170" y="39581"/>
                    <a:pt x="12780" y="34474"/>
                    <a:pt x="12780" y="31282"/>
                  </a:cubicBezTo>
                  <a:cubicBezTo>
                    <a:pt x="12780" y="24898"/>
                    <a:pt x="33867" y="13406"/>
                    <a:pt x="71567" y="13406"/>
                  </a:cubicBezTo>
                  <a:moveTo>
                    <a:pt x="109268" y="4469"/>
                  </a:moveTo>
                  <a:cubicBezTo>
                    <a:pt x="109268" y="4469"/>
                    <a:pt x="109268" y="4469"/>
                    <a:pt x="109268" y="4469"/>
                  </a:cubicBezTo>
                  <a:cubicBezTo>
                    <a:pt x="97766" y="1915"/>
                    <a:pt x="84986" y="0"/>
                    <a:pt x="71567" y="0"/>
                  </a:cubicBezTo>
                  <a:cubicBezTo>
                    <a:pt x="35783" y="0"/>
                    <a:pt x="0" y="10214"/>
                    <a:pt x="0" y="30643"/>
                  </a:cubicBezTo>
                  <a:lnTo>
                    <a:pt x="0" y="61286"/>
                  </a:lnTo>
                  <a:cubicBezTo>
                    <a:pt x="0" y="81077"/>
                    <a:pt x="36422" y="91929"/>
                    <a:pt x="71567" y="91929"/>
                  </a:cubicBezTo>
                  <a:cubicBezTo>
                    <a:pt x="107351" y="91929"/>
                    <a:pt x="143134" y="81715"/>
                    <a:pt x="143134" y="61286"/>
                  </a:cubicBezTo>
                  <a:lnTo>
                    <a:pt x="143134" y="30643"/>
                  </a:lnTo>
                  <a:cubicBezTo>
                    <a:pt x="143774" y="17875"/>
                    <a:pt x="129076" y="9576"/>
                    <a:pt x="109268" y="4469"/>
                  </a:cubicBezTo>
                </a:path>
              </a:pathLst>
            </a:custGeom>
            <a:solidFill>
              <a:srgbClr val="00A3E0"/>
            </a:solidFill>
            <a:ln w="6390"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644C0B4A-7379-4269-7B4D-C9C75788CC63}"/>
                </a:ext>
              </a:extLst>
            </p:cNvPr>
            <p:cNvSpPr/>
            <p:nvPr/>
          </p:nvSpPr>
          <p:spPr>
            <a:xfrm>
              <a:off x="4750918" y="1480394"/>
              <a:ext cx="181473" cy="178326"/>
            </a:xfrm>
            <a:custGeom>
              <a:avLst/>
              <a:gdLst>
                <a:gd name="connsiteX0" fmla="*/ 133549 w 181473"/>
                <a:gd name="connsiteY0" fmla="*/ 214 h 178326"/>
                <a:gd name="connsiteX1" fmla="*/ 97127 w 181473"/>
                <a:gd name="connsiteY1" fmla="*/ 16812 h 178326"/>
                <a:gd name="connsiteX2" fmla="*/ 56870 w 181473"/>
                <a:gd name="connsiteY2" fmla="*/ 57031 h 178326"/>
                <a:gd name="connsiteX3" fmla="*/ 56870 w 181473"/>
                <a:gd name="connsiteY3" fmla="*/ 57031 h 178326"/>
                <a:gd name="connsiteX4" fmla="*/ 56870 w 181473"/>
                <a:gd name="connsiteY4" fmla="*/ 57031 h 178326"/>
                <a:gd name="connsiteX5" fmla="*/ 16613 w 181473"/>
                <a:gd name="connsiteY5" fmla="*/ 97250 h 178326"/>
                <a:gd name="connsiteX6" fmla="*/ 12779 w 181473"/>
                <a:gd name="connsiteY6" fmla="*/ 168751 h 178326"/>
                <a:gd name="connsiteX7" fmla="*/ 26198 w 181473"/>
                <a:gd name="connsiteY7" fmla="*/ 177688 h 178326"/>
                <a:gd name="connsiteX8" fmla="*/ 28754 w 181473"/>
                <a:gd name="connsiteY8" fmla="*/ 178327 h 178326"/>
                <a:gd name="connsiteX9" fmla="*/ 34505 w 181473"/>
                <a:gd name="connsiteY9" fmla="*/ 174496 h 178326"/>
                <a:gd name="connsiteX10" fmla="*/ 31310 w 181473"/>
                <a:gd name="connsiteY10" fmla="*/ 166197 h 178326"/>
                <a:gd name="connsiteX11" fmla="*/ 21726 w 181473"/>
                <a:gd name="connsiteY11" fmla="*/ 159813 h 178326"/>
                <a:gd name="connsiteX12" fmla="*/ 25559 w 181473"/>
                <a:gd name="connsiteY12" fmla="*/ 106826 h 178326"/>
                <a:gd name="connsiteX13" fmla="*/ 61343 w 181473"/>
                <a:gd name="connsiteY13" fmla="*/ 71076 h 178326"/>
                <a:gd name="connsiteX14" fmla="*/ 102239 w 181473"/>
                <a:gd name="connsiteY14" fmla="*/ 111933 h 178326"/>
                <a:gd name="connsiteX15" fmla="*/ 106712 w 181473"/>
                <a:gd name="connsiteY15" fmla="*/ 113849 h 178326"/>
                <a:gd name="connsiteX16" fmla="*/ 111185 w 181473"/>
                <a:gd name="connsiteY16" fmla="*/ 111933 h 178326"/>
                <a:gd name="connsiteX17" fmla="*/ 111185 w 181473"/>
                <a:gd name="connsiteY17" fmla="*/ 102996 h 178326"/>
                <a:gd name="connsiteX18" fmla="*/ 70289 w 181473"/>
                <a:gd name="connsiteY18" fmla="*/ 62138 h 178326"/>
                <a:gd name="connsiteX19" fmla="*/ 106072 w 181473"/>
                <a:gd name="connsiteY19" fmla="*/ 26388 h 178326"/>
                <a:gd name="connsiteX20" fmla="*/ 134188 w 181473"/>
                <a:gd name="connsiteY20" fmla="*/ 13620 h 178326"/>
                <a:gd name="connsiteX21" fmla="*/ 159748 w 181473"/>
                <a:gd name="connsiteY21" fmla="*/ 22558 h 178326"/>
                <a:gd name="connsiteX22" fmla="*/ 155914 w 181473"/>
                <a:gd name="connsiteY22" fmla="*/ 75545 h 178326"/>
                <a:gd name="connsiteX23" fmla="*/ 129076 w 181473"/>
                <a:gd name="connsiteY23" fmla="*/ 102357 h 178326"/>
                <a:gd name="connsiteX24" fmla="*/ 129076 w 181473"/>
                <a:gd name="connsiteY24" fmla="*/ 111295 h 178326"/>
                <a:gd name="connsiteX25" fmla="*/ 138022 w 181473"/>
                <a:gd name="connsiteY25" fmla="*/ 111295 h 178326"/>
                <a:gd name="connsiteX26" fmla="*/ 164860 w 181473"/>
                <a:gd name="connsiteY26" fmla="*/ 84482 h 178326"/>
                <a:gd name="connsiteX27" fmla="*/ 168694 w 181473"/>
                <a:gd name="connsiteY27" fmla="*/ 12982 h 178326"/>
                <a:gd name="connsiteX28" fmla="*/ 133549 w 181473"/>
                <a:gd name="connsiteY28" fmla="*/ 214 h 17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1473" h="178326">
                  <a:moveTo>
                    <a:pt x="133549" y="214"/>
                  </a:moveTo>
                  <a:cubicBezTo>
                    <a:pt x="120130" y="852"/>
                    <a:pt x="107350" y="7236"/>
                    <a:pt x="97127" y="16812"/>
                  </a:cubicBezTo>
                  <a:lnTo>
                    <a:pt x="56870" y="57031"/>
                  </a:lnTo>
                  <a:cubicBezTo>
                    <a:pt x="56870" y="57031"/>
                    <a:pt x="56870" y="57031"/>
                    <a:pt x="56870" y="57031"/>
                  </a:cubicBezTo>
                  <a:cubicBezTo>
                    <a:pt x="56870" y="57031"/>
                    <a:pt x="56870" y="57031"/>
                    <a:pt x="56870" y="57031"/>
                  </a:cubicBezTo>
                  <a:lnTo>
                    <a:pt x="16613" y="97250"/>
                  </a:lnTo>
                  <a:cubicBezTo>
                    <a:pt x="-3834" y="117679"/>
                    <a:pt x="-5751" y="150237"/>
                    <a:pt x="12779" y="168751"/>
                  </a:cubicBezTo>
                  <a:cubicBezTo>
                    <a:pt x="16613" y="172581"/>
                    <a:pt x="21086" y="175773"/>
                    <a:pt x="26198" y="177688"/>
                  </a:cubicBezTo>
                  <a:cubicBezTo>
                    <a:pt x="26837" y="178327"/>
                    <a:pt x="28115" y="178327"/>
                    <a:pt x="28754" y="178327"/>
                  </a:cubicBezTo>
                  <a:cubicBezTo>
                    <a:pt x="31310" y="178327"/>
                    <a:pt x="33866" y="177050"/>
                    <a:pt x="34505" y="174496"/>
                  </a:cubicBezTo>
                  <a:cubicBezTo>
                    <a:pt x="35783" y="171304"/>
                    <a:pt x="34505" y="167474"/>
                    <a:pt x="31310" y="166197"/>
                  </a:cubicBezTo>
                  <a:cubicBezTo>
                    <a:pt x="27476" y="164920"/>
                    <a:pt x="24281" y="162367"/>
                    <a:pt x="21726" y="159813"/>
                  </a:cubicBezTo>
                  <a:cubicBezTo>
                    <a:pt x="8306" y="146407"/>
                    <a:pt x="9585" y="122148"/>
                    <a:pt x="25559" y="106826"/>
                  </a:cubicBezTo>
                  <a:lnTo>
                    <a:pt x="61343" y="71076"/>
                  </a:lnTo>
                  <a:lnTo>
                    <a:pt x="102239" y="111933"/>
                  </a:lnTo>
                  <a:cubicBezTo>
                    <a:pt x="103517" y="113210"/>
                    <a:pt x="105434" y="113849"/>
                    <a:pt x="106712" y="113849"/>
                  </a:cubicBezTo>
                  <a:cubicBezTo>
                    <a:pt x="108629" y="113849"/>
                    <a:pt x="109907" y="113210"/>
                    <a:pt x="111185" y="111933"/>
                  </a:cubicBezTo>
                  <a:cubicBezTo>
                    <a:pt x="113740" y="109380"/>
                    <a:pt x="113740" y="105549"/>
                    <a:pt x="111185" y="102996"/>
                  </a:cubicBezTo>
                  <a:lnTo>
                    <a:pt x="70289" y="62138"/>
                  </a:lnTo>
                  <a:lnTo>
                    <a:pt x="106072" y="26388"/>
                  </a:lnTo>
                  <a:cubicBezTo>
                    <a:pt x="113740" y="18727"/>
                    <a:pt x="123965" y="14258"/>
                    <a:pt x="134188" y="13620"/>
                  </a:cubicBezTo>
                  <a:cubicBezTo>
                    <a:pt x="144412" y="12982"/>
                    <a:pt x="153358" y="16174"/>
                    <a:pt x="159748" y="22558"/>
                  </a:cubicBezTo>
                  <a:cubicBezTo>
                    <a:pt x="173167" y="35964"/>
                    <a:pt x="171889" y="60223"/>
                    <a:pt x="155914" y="75545"/>
                  </a:cubicBezTo>
                  <a:lnTo>
                    <a:pt x="129076" y="102357"/>
                  </a:lnTo>
                  <a:cubicBezTo>
                    <a:pt x="126520" y="104911"/>
                    <a:pt x="126520" y="108741"/>
                    <a:pt x="129076" y="111295"/>
                  </a:cubicBezTo>
                  <a:cubicBezTo>
                    <a:pt x="131632" y="113849"/>
                    <a:pt x="135466" y="113849"/>
                    <a:pt x="138022" y="111295"/>
                  </a:cubicBezTo>
                  <a:lnTo>
                    <a:pt x="164860" y="84482"/>
                  </a:lnTo>
                  <a:cubicBezTo>
                    <a:pt x="185308" y="64054"/>
                    <a:pt x="187225" y="31495"/>
                    <a:pt x="168694" y="12982"/>
                  </a:cubicBezTo>
                  <a:cubicBezTo>
                    <a:pt x="159748" y="3406"/>
                    <a:pt x="147607" y="-1063"/>
                    <a:pt x="133549" y="214"/>
                  </a:cubicBezTo>
                </a:path>
              </a:pathLst>
            </a:custGeom>
            <a:solidFill>
              <a:srgbClr val="00A3E0"/>
            </a:solidFill>
            <a:ln w="6390"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6200C0A0-5EC1-6D87-3D0A-CB77E96769F4}"/>
                </a:ext>
              </a:extLst>
            </p:cNvPr>
            <p:cNvSpPr/>
            <p:nvPr/>
          </p:nvSpPr>
          <p:spPr>
            <a:xfrm>
              <a:off x="4839099" y="1497844"/>
              <a:ext cx="54314" cy="42134"/>
            </a:xfrm>
            <a:custGeom>
              <a:avLst/>
              <a:gdLst>
                <a:gd name="connsiteX0" fmla="*/ 54314 w 54314"/>
                <a:gd name="connsiteY0" fmla="*/ 6384 h 42134"/>
                <a:gd name="connsiteX1" fmla="*/ 47924 w 54314"/>
                <a:gd name="connsiteY1" fmla="*/ 0 h 42134"/>
                <a:gd name="connsiteX2" fmla="*/ 22365 w 54314"/>
                <a:gd name="connsiteY2" fmla="*/ 10853 h 42134"/>
                <a:gd name="connsiteX3" fmla="*/ 1917 w 54314"/>
                <a:gd name="connsiteY3" fmla="*/ 31281 h 42134"/>
                <a:gd name="connsiteX4" fmla="*/ 1917 w 54314"/>
                <a:gd name="connsiteY4" fmla="*/ 40219 h 42134"/>
                <a:gd name="connsiteX5" fmla="*/ 6390 w 54314"/>
                <a:gd name="connsiteY5" fmla="*/ 42134 h 42134"/>
                <a:gd name="connsiteX6" fmla="*/ 10863 w 54314"/>
                <a:gd name="connsiteY6" fmla="*/ 40219 h 42134"/>
                <a:gd name="connsiteX7" fmla="*/ 31311 w 54314"/>
                <a:gd name="connsiteY7" fmla="*/ 19790 h 42134"/>
                <a:gd name="connsiteX8" fmla="*/ 47286 w 54314"/>
                <a:gd name="connsiteY8" fmla="*/ 12768 h 42134"/>
                <a:gd name="connsiteX9" fmla="*/ 54314 w 54314"/>
                <a:gd name="connsiteY9" fmla="*/ 6384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14" h="42134">
                  <a:moveTo>
                    <a:pt x="54314" y="6384"/>
                  </a:moveTo>
                  <a:cubicBezTo>
                    <a:pt x="54314" y="2554"/>
                    <a:pt x="51759" y="0"/>
                    <a:pt x="47924" y="0"/>
                  </a:cubicBezTo>
                  <a:cubicBezTo>
                    <a:pt x="38979" y="0"/>
                    <a:pt x="29394" y="3830"/>
                    <a:pt x="22365" y="10853"/>
                  </a:cubicBezTo>
                  <a:lnTo>
                    <a:pt x="1917" y="31281"/>
                  </a:lnTo>
                  <a:cubicBezTo>
                    <a:pt x="-639" y="33835"/>
                    <a:pt x="-639" y="37665"/>
                    <a:pt x="1917" y="40219"/>
                  </a:cubicBezTo>
                  <a:cubicBezTo>
                    <a:pt x="3195" y="41496"/>
                    <a:pt x="5112" y="42134"/>
                    <a:pt x="6390" y="42134"/>
                  </a:cubicBezTo>
                  <a:cubicBezTo>
                    <a:pt x="8307" y="42134"/>
                    <a:pt x="9585" y="41496"/>
                    <a:pt x="10863" y="40219"/>
                  </a:cubicBezTo>
                  <a:lnTo>
                    <a:pt x="31311" y="19790"/>
                  </a:lnTo>
                  <a:cubicBezTo>
                    <a:pt x="35784" y="15322"/>
                    <a:pt x="41534" y="12768"/>
                    <a:pt x="47286" y="12768"/>
                  </a:cubicBezTo>
                  <a:cubicBezTo>
                    <a:pt x="51119" y="12768"/>
                    <a:pt x="54314" y="9576"/>
                    <a:pt x="54314" y="6384"/>
                  </a:cubicBezTo>
                </a:path>
              </a:pathLst>
            </a:custGeom>
            <a:solidFill>
              <a:srgbClr val="00A3E0"/>
            </a:solid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23723288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Additional Resources</a:t>
            </a: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Resources can help facilities monitor and care for patients under investigation</a:t>
            </a:r>
          </a:p>
        </p:txBody>
      </p:sp>
      <p:pic>
        <p:nvPicPr>
          <p:cNvPr id="7" name="Picture 6">
            <a:extLst>
              <a:ext uri="{FF2B5EF4-FFF2-40B4-BE49-F238E27FC236}">
                <a16:creationId xmlns:a16="http://schemas.microsoft.com/office/drawing/2014/main" id="{E74E7095-CD1D-38A0-DF9E-25177C539E4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927564" y="1913747"/>
            <a:ext cx="2687221" cy="3488566"/>
          </a:xfrm>
          <a:prstGeom prst="rect">
            <a:avLst/>
          </a:prstGeom>
          <a:ln w="12700">
            <a:solidFill>
              <a:schemeClr val="tx1"/>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CFFD6CDD-B17F-5326-5ED1-CB1A9404D6C0}"/>
              </a:ext>
            </a:extLst>
          </p:cNvPr>
          <p:cNvSpPr txBox="1"/>
          <p:nvPr/>
        </p:nvSpPr>
        <p:spPr>
          <a:xfrm>
            <a:off x="603057" y="1247209"/>
            <a:ext cx="6326553" cy="5324535"/>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2000" b="1" dirty="0">
                <a:solidFill>
                  <a:prstClr val="black"/>
                </a:solidFill>
                <a:latin typeface="Calibri" panose="020F0502020204030204"/>
              </a:rPr>
              <a:t>NETEC Resources</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dirty="0">
                <a:solidFill>
                  <a:prstClr val="black"/>
                </a:solidFill>
                <a:latin typeface="Calibri" panose="020F0502020204030204"/>
              </a:rPr>
              <a:t>NETEC offers free consultations, technical support services, and online </a:t>
            </a:r>
            <a:r>
              <a:rPr lang="en-US" sz="2000" dirty="0">
                <a:solidFill>
                  <a:prstClr val="black"/>
                </a:solidFill>
                <a:latin typeface="Calibri" panose="020F0502020204030204"/>
                <a:hlinkClick r:id="rId4"/>
              </a:rPr>
              <a:t>resources</a:t>
            </a:r>
            <a:endParaRPr lang="en-US" sz="2000" dirty="0">
              <a:solidFill>
                <a:prstClr val="black"/>
              </a:solidFill>
              <a:latin typeface="Calibri" panose="020F0502020204030204"/>
            </a:endParaRPr>
          </a:p>
          <a:p>
            <a:pPr marR="0" lvl="0" algn="l" defTabSz="914400" rtl="0" eaLnBrk="1" fontAlgn="auto" latinLnBrk="0" hangingPunct="1">
              <a:lnSpc>
                <a:spcPct val="150000"/>
              </a:lnSpc>
              <a:spcBef>
                <a:spcPts val="0"/>
              </a:spcBef>
              <a:spcAft>
                <a:spcPts val="0"/>
              </a:spcAft>
              <a:buClrTx/>
              <a:buSzTx/>
              <a:tabLst/>
              <a:defRPr/>
            </a:pPr>
            <a:endParaRPr lang="en-US" sz="2000" b="1" dirty="0">
              <a:solidFill>
                <a:prstClr val="black"/>
              </a:solidFill>
              <a:latin typeface="Calibri" panose="020F0502020204030204"/>
            </a:endParaRPr>
          </a:p>
          <a:p>
            <a:pPr marR="0" lvl="0" algn="l" defTabSz="914400" rtl="0" eaLnBrk="1" fontAlgn="auto" latinLnBrk="0" hangingPunct="1">
              <a:lnSpc>
                <a:spcPct val="150000"/>
              </a:lnSpc>
              <a:spcBef>
                <a:spcPts val="0"/>
              </a:spcBef>
              <a:spcAft>
                <a:spcPts val="0"/>
              </a:spcAft>
              <a:buClrTx/>
              <a:buSzTx/>
              <a:tabLst/>
              <a:defRPr/>
            </a:pPr>
            <a:r>
              <a:rPr lang="en-US" sz="2000" b="1" dirty="0">
                <a:solidFill>
                  <a:prstClr val="black"/>
                </a:solidFill>
                <a:latin typeface="Calibri" panose="020F0502020204030204"/>
              </a:rPr>
              <a:t>Bellevue Special Pathogen Program Travel Screening List</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dirty="0">
                <a:solidFill>
                  <a:prstClr val="black"/>
                </a:solidFill>
                <a:latin typeface="Calibri" panose="020F0502020204030204"/>
              </a:rPr>
              <a:t>The travel screening list is published monthly on </a:t>
            </a:r>
            <a:r>
              <a:rPr lang="en-US" sz="2000" dirty="0">
                <a:solidFill>
                  <a:prstClr val="black"/>
                </a:solidFill>
                <a:latin typeface="Calibri" panose="020F0502020204030204"/>
                <a:hlinkClick r:id="rId5"/>
              </a:rPr>
              <a:t>www.r2resptc.org</a:t>
            </a:r>
            <a:endParaRPr lang="en-US" sz="2000" dirty="0">
              <a:solidFill>
                <a:prstClr val="black"/>
              </a:solidFill>
              <a:latin typeface="Calibri" panose="020F0502020204030204"/>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dirty="0">
                <a:solidFill>
                  <a:prstClr val="black"/>
                </a:solidFill>
                <a:latin typeface="Calibri" panose="020F0502020204030204"/>
              </a:rPr>
              <a:t>Facilities can use this resource to support </a:t>
            </a:r>
            <a:r>
              <a:rPr lang="en-US" sz="2000" dirty="0"/>
              <a:t>prompt identification, isolation and/or specialized evaluation and management</a:t>
            </a:r>
            <a:endParaRPr lang="en-US" sz="2000" dirty="0">
              <a:solidFill>
                <a:prstClr val="black"/>
              </a:solidFill>
              <a:latin typeface="Calibri" panose="020F0502020204030204"/>
            </a:endParaRP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endParaRPr lang="en-US" sz="2000" dirty="0">
              <a:solidFill>
                <a:prstClr val="black"/>
              </a:solidFill>
              <a:latin typeface="Calibri" panose="020F0502020204030204"/>
            </a:endParaRPr>
          </a:p>
          <a:p>
            <a:pPr marR="0" lvl="0" algn="l" defTabSz="914400" rtl="0" eaLnBrk="1" fontAlgn="auto" latinLnBrk="0" hangingPunct="1">
              <a:spcBef>
                <a:spcPts val="0"/>
              </a:spcBef>
              <a:spcAft>
                <a:spcPts val="0"/>
              </a:spcAft>
              <a:buClrTx/>
              <a:buSzTx/>
              <a:tabLst/>
              <a:defRPr/>
            </a:pPr>
            <a:r>
              <a:rPr lang="en-US" sz="2000" b="1" dirty="0">
                <a:solidFill>
                  <a:prstClr val="black"/>
                </a:solidFill>
                <a:latin typeface="Calibri" panose="020F0502020204030204"/>
              </a:rPr>
              <a:t>Joint Commission </a:t>
            </a:r>
            <a:r>
              <a:rPr lang="en-US" sz="2000" b="1" dirty="0">
                <a:solidFill>
                  <a:prstClr val="black"/>
                </a:solidFill>
                <a:latin typeface="Calibri" panose="020F0502020204030204"/>
                <a:hlinkClick r:id="rId6"/>
              </a:rPr>
              <a:t>Requirements</a:t>
            </a:r>
            <a:r>
              <a:rPr lang="en-US" sz="2000" b="1" dirty="0">
                <a:solidFill>
                  <a:prstClr val="black"/>
                </a:solidFill>
                <a:latin typeface="Calibri" panose="020F0502020204030204"/>
              </a:rPr>
              <a:t> </a:t>
            </a:r>
            <a:r>
              <a:rPr lang="en-US" sz="2000" dirty="0">
                <a:solidFill>
                  <a:prstClr val="black"/>
                </a:solidFill>
                <a:latin typeface="Calibri" panose="020F0502020204030204"/>
              </a:rPr>
              <a:t>(</a:t>
            </a:r>
            <a:r>
              <a:rPr lang="en-US" sz="2000" dirty="0"/>
              <a:t>IC.07.01.01)</a:t>
            </a:r>
            <a:endParaRPr lang="en-US" sz="2000" b="1" dirty="0">
              <a:solidFill>
                <a:prstClr val="black"/>
              </a:solidFill>
              <a:latin typeface="Calibri" panose="020F0502020204030204"/>
            </a:endParaRP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dirty="0"/>
              <a:t>The Joint Commission offers hospital infection prevention and control requirements to support preparedness for high-consequence infectious diseases or special pathogens</a:t>
            </a:r>
            <a:endParaRPr lang="en-US" sz="2000" b="1" dirty="0"/>
          </a:p>
        </p:txBody>
      </p:sp>
      <p:pic>
        <p:nvPicPr>
          <p:cNvPr id="9" name="Picture 8">
            <a:extLst>
              <a:ext uri="{FF2B5EF4-FFF2-40B4-BE49-F238E27FC236}">
                <a16:creationId xmlns:a16="http://schemas.microsoft.com/office/drawing/2014/main" id="{821F43D6-D4C3-707F-4818-A75873DB3F84}"/>
              </a:ext>
            </a:extLst>
          </p:cNvPr>
          <p:cNvPicPr>
            <a:picLocks noChangeAspect="1"/>
          </p:cNvPicPr>
          <p:nvPr/>
        </p:nvPicPr>
        <p:blipFill>
          <a:blip r:embed="rId7"/>
          <a:stretch>
            <a:fillRect/>
          </a:stretch>
        </p:blipFill>
        <p:spPr>
          <a:xfrm>
            <a:off x="7486008" y="775681"/>
            <a:ext cx="2236518" cy="2276133"/>
          </a:xfrm>
          <a:prstGeom prst="rect">
            <a:avLst/>
          </a:prstGeom>
          <a:ln w="12700">
            <a:solidFill>
              <a:schemeClr val="tx1"/>
            </a:solidFill>
          </a:ln>
          <a:effectLst>
            <a:outerShdw blurRad="63500" sx="102000" sy="102000" algn="ctr" rotWithShape="0">
              <a:prstClr val="black">
                <a:alpha val="40000"/>
              </a:prstClr>
            </a:outerShdw>
          </a:effectLst>
        </p:spPr>
      </p:pic>
      <p:pic>
        <p:nvPicPr>
          <p:cNvPr id="6" name="Picture 5" descr="A screenshot of a computer&#10;&#10;Description automatically generated">
            <a:extLst>
              <a:ext uri="{FF2B5EF4-FFF2-40B4-BE49-F238E27FC236}">
                <a16:creationId xmlns:a16="http://schemas.microsoft.com/office/drawing/2014/main" id="{AD67E2A3-6AEE-D6CA-C686-2CAE17170614}"/>
              </a:ext>
            </a:extLst>
          </p:cNvPr>
          <p:cNvPicPr>
            <a:picLocks noChangeAspect="1"/>
          </p:cNvPicPr>
          <p:nvPr/>
        </p:nvPicPr>
        <p:blipFill rotWithShape="1">
          <a:blip r:embed="rId8">
            <a:extLst>
              <a:ext uri="{28A0092B-C50C-407E-A947-70E740481C1C}">
                <a14:useLocalDpi xmlns:a14="http://schemas.microsoft.com/office/drawing/2010/main" val="0"/>
              </a:ext>
            </a:extLst>
          </a:blip>
          <a:srcRect l="46807" t="26838" r="24187" b="2231"/>
          <a:stretch/>
        </p:blipFill>
        <p:spPr>
          <a:xfrm>
            <a:off x="7486008" y="3658030"/>
            <a:ext cx="2236518" cy="2934516"/>
          </a:xfrm>
          <a:prstGeom prst="rect">
            <a:avLst/>
          </a:prstGeom>
        </p:spPr>
      </p:pic>
    </p:spTree>
    <p:extLst>
      <p:ext uri="{BB962C8B-B14F-4D97-AF65-F5344CB8AC3E}">
        <p14:creationId xmlns:p14="http://schemas.microsoft.com/office/powerpoint/2010/main" val="1758831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err="1">
                <a:ln>
                  <a:noFill/>
                </a:ln>
                <a:solidFill>
                  <a:sysClr val="windowText" lastClr="000000"/>
                </a:solidFill>
                <a:effectLst/>
                <a:uLnTx/>
                <a:uFillTx/>
                <a:latin typeface="Calibri" panose="020F0502020204030204" pitchFamily="34" charset="0"/>
                <a:ea typeface="+mj-ea"/>
                <a:cs typeface="Calibri" panose="020F0502020204030204" pitchFamily="34" charset="0"/>
              </a:rPr>
              <a:t>Mpox</a:t>
            </a: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 2023 – CDC and Region 2 DOH Health Advisories</a:t>
            </a: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effectLst/>
                <a:uLnTx/>
                <a:uFillTx/>
                <a:latin typeface="Calibri" panose="020F0502020204030204"/>
                <a:ea typeface="+mn-ea"/>
                <a:cs typeface="+mn-cs"/>
              </a:rPr>
              <a:t>Multiple</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 Region 2 Departments of Health (DOH) (New York, New Jersey, and U.S. Virgin </a:t>
            </a:r>
            <a:r>
              <a:rPr lang="en-US" sz="1400" i="1">
                <a:solidFill>
                  <a:prstClr val="black"/>
                </a:solidFill>
                <a:latin typeface="Calibri" panose="020F0502020204030204"/>
              </a:rPr>
              <a:t>Islands) </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issued a health advisories alerting clinicians to a recent increase in </a:t>
            </a:r>
            <a:r>
              <a:rPr kumimoji="0" lang="en-US" sz="1400" b="0" i="1" u="none" strike="noStrike" kern="1200" cap="none" spc="0" normalizeH="0" baseline="0" noProof="0" err="1">
                <a:ln>
                  <a:noFill/>
                </a:ln>
                <a:solidFill>
                  <a:prstClr val="black"/>
                </a:solidFill>
                <a:effectLst/>
                <a:uLnTx/>
                <a:uFillTx/>
                <a:latin typeface="Calibri" panose="020F0502020204030204"/>
                <a:ea typeface="+mn-ea"/>
                <a:cs typeface="+mn-cs"/>
              </a:rPr>
              <a:t>mpox</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 cases in late 2023. </a:t>
            </a:r>
          </a:p>
        </p:txBody>
      </p:sp>
      <p:grpSp>
        <p:nvGrpSpPr>
          <p:cNvPr id="11" name="Group 10">
            <a:extLst>
              <a:ext uri="{FF2B5EF4-FFF2-40B4-BE49-F238E27FC236}">
                <a16:creationId xmlns:a16="http://schemas.microsoft.com/office/drawing/2014/main" id="{7277D42B-531D-2B1F-FB7E-B6AE9F310676}"/>
              </a:ext>
            </a:extLst>
          </p:cNvPr>
          <p:cNvGrpSpPr/>
          <p:nvPr/>
        </p:nvGrpSpPr>
        <p:grpSpPr>
          <a:xfrm>
            <a:off x="1001567" y="1288638"/>
            <a:ext cx="10188866" cy="4567162"/>
            <a:chOff x="1001567" y="1145419"/>
            <a:chExt cx="10188866" cy="4567162"/>
          </a:xfrm>
        </p:grpSpPr>
        <p:sp>
          <p:nvSpPr>
            <p:cNvPr id="3" name="Text Placeholder 3">
              <a:extLst>
                <a:ext uri="{FF2B5EF4-FFF2-40B4-BE49-F238E27FC236}">
                  <a16:creationId xmlns:a16="http://schemas.microsoft.com/office/drawing/2014/main" id="{57CB99C1-0E8C-3C66-B96E-0954E2EDF1DD}"/>
                </a:ext>
              </a:extLst>
            </p:cNvPr>
            <p:cNvSpPr txBox="1">
              <a:spLocks/>
            </p:cNvSpPr>
            <p:nvPr/>
          </p:nvSpPr>
          <p:spPr>
            <a:xfrm>
              <a:off x="2165472" y="1651580"/>
              <a:ext cx="7750628" cy="3268401"/>
            </a:xfrm>
            <a:prstGeom prst="rect">
              <a:avLst/>
            </a:prstGeom>
            <a:ln>
              <a:noFill/>
            </a:ln>
          </p:spPr>
          <p:txBody>
            <a:bodyPr vert="horz" lIns="91440" tIns="45720" rIns="91440" bIns="45720" rtlCol="0" anchor="t">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lang="en-US" sz="1400" kern="1200">
                  <a:solidFill>
                    <a:schemeClr val="tx1"/>
                  </a:solidFill>
                  <a:latin typeface="+mj-lt"/>
                  <a:ea typeface="+mn-ea"/>
                  <a:cs typeface="+mn-cs"/>
                </a:defRPr>
              </a:lvl1pPr>
              <a:lvl2pPr marL="174625" marR="0" indent="-174625" algn="l" defTabSz="914400" rtl="0" eaLnBrk="1" fontAlgn="base" latinLnBrk="0" hangingPunct="1">
                <a:lnSpc>
                  <a:spcPct val="100000"/>
                </a:lnSpc>
                <a:spcBef>
                  <a:spcPts val="400"/>
                </a:spcBef>
                <a:spcAft>
                  <a:spcPct val="0"/>
                </a:spcAft>
                <a:buClrTx/>
                <a:buSzTx/>
                <a:buFont typeface="Arial" pitchFamily="34" charset="0"/>
                <a:buChar char="•"/>
                <a:tabLst/>
                <a:defRPr lang="en-US" sz="1200" kern="1200">
                  <a:solidFill>
                    <a:schemeClr val="tx1"/>
                  </a:solidFill>
                  <a:latin typeface="+mj-lt"/>
                  <a:ea typeface="+mn-ea"/>
                  <a:cs typeface="+mn-cs"/>
                </a:defRPr>
              </a:lvl2pPr>
              <a:lvl3pPr marL="341313" marR="0" indent="-171450" algn="l" defTabSz="914400" rtl="0" eaLnBrk="1" fontAlgn="base" latinLnBrk="0" hangingPunct="1">
                <a:lnSpc>
                  <a:spcPct val="100000"/>
                </a:lnSpc>
                <a:spcBef>
                  <a:spcPts val="400"/>
                </a:spcBef>
                <a:spcAft>
                  <a:spcPct val="0"/>
                </a:spcAft>
                <a:buClrTx/>
                <a:buSzTx/>
                <a:buFont typeface="Arial" pitchFamily="34" charset="0"/>
                <a:buChar char="–"/>
                <a:tabLst/>
                <a:defRPr lang="en-US" sz="1000" kern="1200">
                  <a:solidFill>
                    <a:schemeClr val="tx1"/>
                  </a:solidFill>
                  <a:latin typeface="Arial"/>
                  <a:ea typeface="+mn-ea"/>
                  <a:cs typeface="Arial" pitchFamily="34" charset="0"/>
                </a:defRPr>
              </a:lvl3pPr>
              <a:lvl4pPr marL="515938" marR="0" indent="-174625" algn="l" defTabSz="914400" rtl="0" eaLnBrk="1" fontAlgn="base" latinLnBrk="0" hangingPunct="1">
                <a:lnSpc>
                  <a:spcPct val="100000"/>
                </a:lnSpc>
                <a:spcBef>
                  <a:spcPts val="400"/>
                </a:spcBef>
                <a:spcAft>
                  <a:spcPct val="0"/>
                </a:spcAft>
                <a:buClrTx/>
                <a:buSzTx/>
                <a:buFont typeface="Arial" pitchFamily="34" charset="0"/>
                <a:buChar char="•"/>
                <a:tabLst/>
                <a:defRPr sz="1600">
                  <a:solidFill>
                    <a:schemeClr val="tx1"/>
                  </a:solidFill>
                  <a:latin typeface="Cambria" pitchFamily="18" charset="0"/>
                </a:defRPr>
              </a:lvl4pPr>
              <a:lvl5pPr marL="688975" marR="0" indent="-173038" algn="l" defTabSz="914400" rtl="0" eaLnBrk="1" fontAlgn="base" latinLnBrk="0" hangingPunct="1">
                <a:lnSpc>
                  <a:spcPct val="100000"/>
                </a:lnSpc>
                <a:spcBef>
                  <a:spcPts val="400"/>
                </a:spcBef>
                <a:spcAft>
                  <a:spcPct val="0"/>
                </a:spcAft>
                <a:buClrTx/>
                <a:buSzTx/>
                <a:buFont typeface="Arial" pitchFamily="34" charset="0"/>
                <a:buChar char="–"/>
                <a:tabLst/>
                <a:defRPr sz="1600">
                  <a:solidFill>
                    <a:schemeClr val="tx1"/>
                  </a:solidFill>
                  <a:latin typeface="Cambria" pitchFamily="18"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a:defRPr/>
              </a:pPr>
              <a:r>
                <a:rPr lang="en-US" sz="2400" i="1" err="1">
                  <a:latin typeface="+mn-lt"/>
                  <a:cs typeface="Segoe UI" panose="020B0502040204020203" pitchFamily="34" charset="0"/>
                </a:rPr>
                <a:t>Mpox</a:t>
              </a:r>
              <a:r>
                <a:rPr lang="en-US" sz="2400" i="1">
                  <a:latin typeface="+mn-lt"/>
                  <a:cs typeface="Segoe UI" panose="020B0502040204020203" pitchFamily="34" charset="0"/>
                </a:rPr>
                <a:t> illnesses, including severe infections, continue to occur across the United States. CDC recommends people with the sexual risk factors for </a:t>
              </a:r>
              <a:r>
                <a:rPr lang="en-US" sz="2400" i="1" err="1">
                  <a:latin typeface="+mn-lt"/>
                  <a:cs typeface="Segoe UI" panose="020B0502040204020203" pitchFamily="34" charset="0"/>
                </a:rPr>
                <a:t>mpox</a:t>
              </a:r>
              <a:r>
                <a:rPr lang="en-US" sz="2400" i="1">
                  <a:latin typeface="+mn-lt"/>
                  <a:cs typeface="Segoe UI" panose="020B0502040204020203" pitchFamily="34" charset="0"/>
                </a:rPr>
                <a:t> get vaccinated now if they have not already received two doses of JYNNEOS vaccine. Those at risk include (but are not limited to) men who have sex with men (MSM) who have more than one sexual partner and those who have sex with them, regardless of gender. CDC does not currently recommend more than two vaccine doses.</a:t>
              </a:r>
              <a:endParaRPr lang="en-US" sz="2400" kern="0">
                <a:latin typeface="+mn-lt"/>
                <a:cs typeface="Arial" panose="020B0604020202020204" pitchFamily="34" charset="0"/>
              </a:endParaRPr>
            </a:p>
          </p:txBody>
        </p:sp>
        <p:sp>
          <p:nvSpPr>
            <p:cNvPr id="4" name="TextBox 3">
              <a:extLst>
                <a:ext uri="{FF2B5EF4-FFF2-40B4-BE49-F238E27FC236}">
                  <a16:creationId xmlns:a16="http://schemas.microsoft.com/office/drawing/2014/main" id="{5CEBD7F4-21D0-1A61-6C58-76438FB9D00D}"/>
                </a:ext>
              </a:extLst>
            </p:cNvPr>
            <p:cNvSpPr txBox="1"/>
            <p:nvPr/>
          </p:nvSpPr>
          <p:spPr>
            <a:xfrm>
              <a:off x="1001567" y="1261058"/>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E7E5E8"/>
                  </a:solidFill>
                  <a:effectLst/>
                  <a:uLnTx/>
                  <a:uFillTx/>
                  <a:latin typeface="Arial"/>
                  <a:ea typeface="+mn-ea"/>
                  <a:cs typeface="Arial"/>
                </a:rPr>
                <a:t>“</a:t>
              </a:r>
            </a:p>
          </p:txBody>
        </p:sp>
        <p:sp>
          <p:nvSpPr>
            <p:cNvPr id="6" name="Rectangle 2">
              <a:extLst>
                <a:ext uri="{FF2B5EF4-FFF2-40B4-BE49-F238E27FC236}">
                  <a16:creationId xmlns:a16="http://schemas.microsoft.com/office/drawing/2014/main" id="{4085B23E-3D62-7DFA-F301-E9A5091662A1}"/>
                </a:ext>
              </a:extLst>
            </p:cNvPr>
            <p:cNvSpPr/>
            <p:nvPr/>
          </p:nvSpPr>
          <p:spPr>
            <a:xfrm>
              <a:off x="1540932" y="1145419"/>
              <a:ext cx="9076267" cy="2400657"/>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rgbClr val="00244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8" name="Rectangle 2">
              <a:extLst>
                <a:ext uri="{FF2B5EF4-FFF2-40B4-BE49-F238E27FC236}">
                  <a16:creationId xmlns:a16="http://schemas.microsoft.com/office/drawing/2014/main" id="{4D92C891-14B5-5173-C110-6FF525D31583}"/>
                </a:ext>
              </a:extLst>
            </p:cNvPr>
            <p:cNvSpPr/>
            <p:nvPr/>
          </p:nvSpPr>
          <p:spPr>
            <a:xfrm rot="10800000">
              <a:off x="1523495" y="2533879"/>
              <a:ext cx="9076267" cy="272441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rgbClr val="00244C"/>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9" name="TextBox 8">
              <a:extLst>
                <a:ext uri="{FF2B5EF4-FFF2-40B4-BE49-F238E27FC236}">
                  <a16:creationId xmlns:a16="http://schemas.microsoft.com/office/drawing/2014/main" id="{3A4FF56A-DB4A-5362-CA01-1D689D84FC1E}"/>
                </a:ext>
              </a:extLst>
            </p:cNvPr>
            <p:cNvSpPr txBox="1"/>
            <p:nvPr/>
          </p:nvSpPr>
          <p:spPr>
            <a:xfrm>
              <a:off x="10043965" y="3311924"/>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E7E5E8"/>
                  </a:solidFill>
                  <a:effectLst/>
                  <a:uLnTx/>
                  <a:uFillTx/>
                  <a:latin typeface="Arial"/>
                  <a:ea typeface="+mn-ea"/>
                  <a:cs typeface="Arial"/>
                </a:rPr>
                <a:t>”</a:t>
              </a:r>
            </a:p>
          </p:txBody>
        </p:sp>
      </p:grpSp>
      <p:sp>
        <p:nvSpPr>
          <p:cNvPr id="13" name="Rectangle 12">
            <a:extLst>
              <a:ext uri="{FF2B5EF4-FFF2-40B4-BE49-F238E27FC236}">
                <a16:creationId xmlns:a16="http://schemas.microsoft.com/office/drawing/2014/main" id="{C95E361D-6A5A-A1FA-858C-8EAB85C062D4}"/>
              </a:ext>
            </a:extLst>
          </p:cNvPr>
          <p:cNvSpPr/>
          <p:nvPr/>
        </p:nvSpPr>
        <p:spPr>
          <a:xfrm>
            <a:off x="-34372" y="5598802"/>
            <a:ext cx="12192000" cy="1045556"/>
          </a:xfrm>
          <a:prstGeom prst="rect">
            <a:avLst/>
          </a:prstGeom>
          <a:solidFill>
            <a:srgbClr val="FFFFFF">
              <a:alpha val="61176"/>
            </a:srgbClr>
          </a:solidFill>
          <a:ln w="285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Region 2</a:t>
            </a:r>
            <a:r>
              <a:rPr kumimoji="0" lang="en-US" sz="2000" b="0" i="0" u="none" strike="noStrike" kern="0" cap="none" spc="0" normalizeH="0" baseline="0" noProof="0">
                <a:ln>
                  <a:noFill/>
                </a:ln>
                <a:solidFill>
                  <a:srgbClr val="FF0000"/>
                </a:solidFill>
                <a:effectLst/>
                <a:uLnTx/>
                <a:uFillTx/>
                <a:latin typeface="Calibri" panose="020F0502020204030204" pitchFamily="34" charset="0"/>
                <a:cs typeface="Calibri" panose="020F0502020204030204" pitchFamily="34" charset="0"/>
              </a:rPr>
              <a:t> </a:t>
            </a:r>
            <a:r>
              <a:rPr kumimoji="0" lang="en-US" sz="2000" b="0" i="0" u="none" strike="noStrike" kern="0" cap="none" spc="0" normalizeH="0" baseline="0" noProof="0">
                <a:ln>
                  <a:noFill/>
                </a:ln>
                <a:effectLst/>
                <a:uLnTx/>
                <a:uFillTx/>
                <a:latin typeface="Calibri" panose="020F0502020204030204" pitchFamily="34" charset="0"/>
                <a:cs typeface="Calibri" panose="020F0502020204030204" pitchFamily="34" charset="0"/>
              </a:rPr>
              <a:t>Department of Health </a:t>
            </a: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Resources:</a:t>
            </a:r>
          </a:p>
          <a:p>
            <a:pPr marL="0" marR="0" lvl="0" indent="0" algn="ctr" defTabSz="914400" eaLnBrk="1" fontAlgn="auto" latinLnBrk="0" hangingPunct="1">
              <a:lnSpc>
                <a:spcPct val="100000"/>
              </a:lnSpc>
              <a:spcBef>
                <a:spcPts val="0"/>
              </a:spcBef>
              <a:spcAft>
                <a:spcPts val="0"/>
              </a:spcAft>
              <a:buClrTx/>
              <a:buSzTx/>
              <a:buFontTx/>
              <a:buNone/>
              <a:tabLst/>
              <a:defRPr/>
            </a:pPr>
            <a:r>
              <a:rPr lang="en-US" sz="2000" kern="0">
                <a:solidFill>
                  <a:prstClr val="black"/>
                </a:solidFill>
                <a:latin typeface="Calibri" panose="020F0502020204030204" pitchFamily="34" charset="0"/>
                <a:cs typeface="Calibri" panose="020F0502020204030204" pitchFamily="34" charset="0"/>
                <a:hlinkClick r:id="rId3"/>
              </a:rPr>
              <a:t>New York DOH Health Advisory</a:t>
            </a:r>
            <a:r>
              <a:rPr lang="en-US" sz="2000" kern="0">
                <a:solidFill>
                  <a:prstClr val="black"/>
                </a:solidFill>
                <a:latin typeface="Calibri" panose="020F0502020204030204" pitchFamily="34" charset="0"/>
                <a:cs typeface="Calibri" panose="020F0502020204030204" pitchFamily="34" charset="0"/>
              </a:rPr>
              <a:t>, </a:t>
            </a:r>
            <a:r>
              <a:rPr lang="en-US" sz="2000" kern="0">
                <a:solidFill>
                  <a:prstClr val="black"/>
                </a:solidFill>
                <a:latin typeface="Calibri" panose="020F0502020204030204" pitchFamily="34" charset="0"/>
                <a:cs typeface="Calibri" panose="020F0502020204030204" pitchFamily="34" charset="0"/>
                <a:hlinkClick r:id="rId4"/>
              </a:rPr>
              <a:t>New Jersey DOH Health Advisory</a:t>
            </a:r>
            <a:endPar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hlinkClick r:id="rId5"/>
              </a:rPr>
              <a:t>Puerto Rico DOH </a:t>
            </a:r>
            <a:r>
              <a:rPr kumimoji="0" lang="en-US" sz="2000" b="0" i="0" u="none" strike="noStrike" kern="0" cap="none" spc="0" normalizeH="0" baseline="0" noProof="0" err="1">
                <a:ln>
                  <a:noFill/>
                </a:ln>
                <a:solidFill>
                  <a:prstClr val="black"/>
                </a:solidFill>
                <a:effectLst/>
                <a:uLnTx/>
                <a:uFillTx/>
                <a:latin typeface="Calibri" panose="020F0502020204030204" pitchFamily="34" charset="0"/>
                <a:cs typeface="Calibri" panose="020F0502020204030204" pitchFamily="34" charset="0"/>
                <a:hlinkClick r:id="rId5"/>
              </a:rPr>
              <a:t>Mpox</a:t>
            </a: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hlinkClick r:id="rId5"/>
              </a:rPr>
              <a:t> Resources</a:t>
            </a: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 </a:t>
            </a: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hlinkClick r:id="rId6"/>
              </a:rPr>
              <a:t>U.S. Virgin Islands DOH Health Advisory</a:t>
            </a:r>
            <a:endPar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41509C4B-E3A1-EB73-C3CE-F099851C2D33}"/>
              </a:ext>
            </a:extLst>
          </p:cNvPr>
          <p:cNvSpPr txBox="1"/>
          <p:nvPr/>
        </p:nvSpPr>
        <p:spPr>
          <a:xfrm>
            <a:off x="1708272" y="4962115"/>
            <a:ext cx="48467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ource: U.S. Virgin Islands Department of Health</a:t>
            </a:r>
          </a:p>
        </p:txBody>
      </p:sp>
    </p:spTree>
    <p:extLst>
      <p:ext uri="{BB962C8B-B14F-4D97-AF65-F5344CB8AC3E}">
        <p14:creationId xmlns:p14="http://schemas.microsoft.com/office/powerpoint/2010/main" val="4298893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35BAE-7ABE-4A71-9AB3-7CCD18270BCD}"/>
              </a:ext>
            </a:extLst>
          </p:cNvPr>
          <p:cNvSpPr>
            <a:spLocks noGrp="1"/>
          </p:cNvSpPr>
          <p:nvPr>
            <p:ph type="sldNum" sz="quarter" idx="12"/>
          </p:nvPr>
        </p:nvSpPr>
        <p:spPr/>
        <p:txBody>
          <a:bodyPr/>
          <a:lstStyle/>
          <a:p>
            <a:fld id="{77F4BF5D-8F9B-407A-AC8F-1C7206B5B534}" type="slidenum">
              <a:rPr lang="en-US" smtClean="0"/>
              <a:t>16</a:t>
            </a:fld>
            <a:endParaRPr lang="en-US"/>
          </a:p>
        </p:txBody>
      </p:sp>
      <p:sp>
        <p:nvSpPr>
          <p:cNvPr id="24" name="Title 3">
            <a:extLst>
              <a:ext uri="{FF2B5EF4-FFF2-40B4-BE49-F238E27FC236}">
                <a16:creationId xmlns:a16="http://schemas.microsoft.com/office/drawing/2014/main" id="{964923DB-2256-419B-A063-3239D1FC888E}"/>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a:defRPr/>
            </a:pPr>
            <a:r>
              <a:rPr lang="en-US">
                <a:solidFill>
                  <a:sysClr val="windowText" lastClr="000000"/>
                </a:solidFill>
                <a:latin typeface="+mn-lt"/>
                <a:cs typeface="Arial" panose="020B0604020202020204" pitchFamily="34" charset="0"/>
              </a:rPr>
              <a:t>Trivia #</a:t>
            </a:r>
            <a:r>
              <a:rPr lang="en-US">
                <a:latin typeface="+mn-lt"/>
                <a:cs typeface="Arial" panose="020B0604020202020204" pitchFamily="34" charset="0"/>
              </a:rPr>
              <a:t>2</a:t>
            </a:r>
          </a:p>
        </p:txBody>
      </p:sp>
      <p:pic>
        <p:nvPicPr>
          <p:cNvPr id="26" name="Picture 25">
            <a:extLst>
              <a:ext uri="{FF2B5EF4-FFF2-40B4-BE49-F238E27FC236}">
                <a16:creationId xmlns:a16="http://schemas.microsoft.com/office/drawing/2014/main" id="{A2E44B7A-42C4-73C2-7C53-BABF50439C4F}"/>
              </a:ext>
            </a:extLst>
          </p:cNvPr>
          <p:cNvPicPr>
            <a:picLocks noChangeAspect="1"/>
          </p:cNvPicPr>
          <p:nvPr/>
        </p:nvPicPr>
        <p:blipFill rotWithShape="1">
          <a:blip r:embed="rId2">
            <a:extLst>
              <a:ext uri="{28A0092B-C50C-407E-A947-70E740481C1C}">
                <a14:useLocalDpi xmlns:a14="http://schemas.microsoft.com/office/drawing/2010/main" val="0"/>
              </a:ext>
            </a:extLst>
          </a:blip>
          <a:srcRect l="31595" r="1767"/>
          <a:stretch/>
        </p:blipFill>
        <p:spPr>
          <a:xfrm>
            <a:off x="6747834" y="1513839"/>
            <a:ext cx="3830320" cy="3830320"/>
          </a:xfrm>
          <a:prstGeom prst="ellipse">
            <a:avLst/>
          </a:prstGeom>
          <a:ln w="63500" cap="rnd">
            <a:noFill/>
          </a:ln>
          <a:effectLst>
            <a:outerShdw blurRad="381000" dist="292100" dir="5400000" sx="-80000" sy="-18000" rotWithShape="0">
              <a:srgbClr val="000000">
                <a:alpha val="22000"/>
              </a:srgbClr>
            </a:outerShdw>
          </a:effectLst>
        </p:spPr>
      </p:pic>
      <p:sp>
        <p:nvSpPr>
          <p:cNvPr id="3" name="TextBox 2">
            <a:extLst>
              <a:ext uri="{FF2B5EF4-FFF2-40B4-BE49-F238E27FC236}">
                <a16:creationId xmlns:a16="http://schemas.microsoft.com/office/drawing/2014/main" id="{802F4057-D21A-82FD-C579-A946465549FD}"/>
              </a:ext>
            </a:extLst>
          </p:cNvPr>
          <p:cNvSpPr txBox="1"/>
          <p:nvPr/>
        </p:nvSpPr>
        <p:spPr>
          <a:xfrm>
            <a:off x="617633" y="1270029"/>
            <a:ext cx="5706049" cy="4770537"/>
          </a:xfrm>
          <a:prstGeom prst="rect">
            <a:avLst/>
          </a:prstGeom>
          <a:noFill/>
        </p:spPr>
        <p:txBody>
          <a:bodyPr wrap="square" lIns="0" tIns="0" rIns="0" bIns="0" rtlCol="0" anchor="t">
            <a:spAutoFit/>
          </a:bodyPr>
          <a:lstStyle/>
          <a:p>
            <a:pPr>
              <a:defRPr/>
            </a:pPr>
            <a:r>
              <a:rPr kumimoji="0" lang="en-US" sz="3200" b="1" i="0" u="none" strike="noStrike" kern="1200" cap="none" spc="0" normalizeH="0" baseline="0" noProof="0">
                <a:ln>
                  <a:noFill/>
                </a:ln>
                <a:solidFill>
                  <a:srgbClr val="1E428A"/>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rPr>
              <a:t>When do </a:t>
            </a:r>
            <a:r>
              <a:rPr kumimoji="0" lang="en-US" sz="3200" b="1" i="0" u="none" strike="noStrike" kern="1200" cap="none" spc="0" normalizeH="0" baseline="0" noProof="0" err="1">
                <a:ln>
                  <a:noFill/>
                </a:ln>
                <a:solidFill>
                  <a:srgbClr val="1E428A"/>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rPr>
              <a:t>mpox</a:t>
            </a:r>
            <a:r>
              <a:rPr kumimoji="0" lang="en-US" sz="3200" b="1" i="0" u="none" strike="noStrike" kern="1200" cap="none" spc="0" normalizeH="0" baseline="0" noProof="0">
                <a:ln>
                  <a:noFill/>
                </a:ln>
                <a:solidFill>
                  <a:srgbClr val="1E428A"/>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rPr>
              <a:t> rash or lesions typically appear after symptom onset (e.g. </a:t>
            </a:r>
            <a:r>
              <a:rPr lang="en-US" sz="3200" b="1">
                <a:solidFill>
                  <a:srgbClr val="1E428A"/>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lu-like symptoms)</a:t>
            </a:r>
            <a:r>
              <a:rPr kumimoji="0" lang="en-US" sz="3200" b="1" i="0" u="none" strike="noStrike" kern="1200" cap="none" spc="0" normalizeH="0" baseline="0" noProof="0">
                <a:ln>
                  <a:noFill/>
                </a:ln>
                <a:solidFill>
                  <a:srgbClr val="1E428A"/>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rPr>
              <a:t>?</a:t>
            </a:r>
          </a:p>
          <a:p>
            <a:pPr marL="800100" lvl="1" indent="-342900">
              <a:lnSpc>
                <a:spcPct val="200000"/>
              </a:lnSpc>
              <a:spcBef>
                <a:spcPts val="600"/>
              </a:spcBef>
              <a:buFont typeface="+mj-lt"/>
              <a:buAutoNum type="alphaUcPeriod"/>
              <a:defRPr/>
            </a:pPr>
            <a:r>
              <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1-4 days</a:t>
            </a:r>
          </a:p>
          <a:p>
            <a:pPr marL="800100" lvl="1" indent="-342900">
              <a:lnSpc>
                <a:spcPct val="200000"/>
              </a:lnSpc>
              <a:spcBef>
                <a:spcPts val="600"/>
              </a:spcBef>
              <a:buFont typeface="+mj-lt"/>
              <a:buAutoNum type="alphaUcPeriod"/>
              <a:defRPr/>
            </a:pPr>
            <a:r>
              <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5-7 days</a:t>
            </a:r>
          </a:p>
          <a:p>
            <a:pPr marL="800100" lvl="1" indent="-342900">
              <a:lnSpc>
                <a:spcPct val="200000"/>
              </a:lnSpc>
              <a:spcBef>
                <a:spcPts val="600"/>
              </a:spcBef>
              <a:buFont typeface="+mj-lt"/>
              <a:buAutoNum type="alphaUcPeriod"/>
              <a:defRPr/>
            </a:pPr>
            <a:r>
              <a:rPr lang="en-US">
                <a:solidFill>
                  <a:prstClr val="black"/>
                </a:solidFill>
                <a:latin typeface="Arial" panose="020B0604020202020204" pitchFamily="34" charset="0"/>
                <a:cs typeface="Arial" panose="020B0604020202020204" pitchFamily="34" charset="0"/>
              </a:rPr>
              <a:t>8</a:t>
            </a:r>
            <a:r>
              <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10 days</a:t>
            </a:r>
          </a:p>
          <a:p>
            <a:pPr marL="800100" lvl="1" indent="-342900">
              <a:lnSpc>
                <a:spcPct val="200000"/>
              </a:lnSpc>
              <a:spcBef>
                <a:spcPts val="600"/>
              </a:spcBef>
              <a:buFont typeface="+mj-lt"/>
              <a:buAutoNum type="alphaUcPeriod"/>
              <a:defRPr/>
            </a:pPr>
            <a:r>
              <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11-15 days</a:t>
            </a:r>
          </a:p>
          <a:p>
            <a:pPr>
              <a:defRPr/>
            </a:pPr>
            <a:endPar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C0CBDB15-5EE2-EE58-9BAE-A45E3C867B5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212775" y="586076"/>
            <a:ext cx="723182" cy="719671"/>
          </a:xfrm>
          <a:prstGeom prst="rect">
            <a:avLst/>
          </a:prstGeom>
        </p:spPr>
      </p:pic>
      <p:sp>
        <p:nvSpPr>
          <p:cNvPr id="5" name="TextBox 4">
            <a:extLst>
              <a:ext uri="{FF2B5EF4-FFF2-40B4-BE49-F238E27FC236}">
                <a16:creationId xmlns:a16="http://schemas.microsoft.com/office/drawing/2014/main" id="{EC2FB23C-0C3E-9762-EA20-6D99D618BE4A}"/>
              </a:ext>
            </a:extLst>
          </p:cNvPr>
          <p:cNvSpPr txBox="1"/>
          <p:nvPr/>
        </p:nvSpPr>
        <p:spPr>
          <a:xfrm>
            <a:off x="10885322" y="1242893"/>
            <a:ext cx="13780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can to answer</a:t>
            </a:r>
          </a:p>
        </p:txBody>
      </p:sp>
      <p:pic>
        <p:nvPicPr>
          <p:cNvPr id="6" name="Graphic 5" descr="Checkmark with solid fill">
            <a:extLst>
              <a:ext uri="{FF2B5EF4-FFF2-40B4-BE49-F238E27FC236}">
                <a16:creationId xmlns:a16="http://schemas.microsoft.com/office/drawing/2014/main" id="{DC0DB128-E7CC-D03D-19EC-18956A00C64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9872" y="3385910"/>
            <a:ext cx="457200" cy="457200"/>
          </a:xfrm>
          <a:prstGeom prst="rect">
            <a:avLst/>
          </a:prstGeom>
        </p:spPr>
      </p:pic>
    </p:spTree>
    <p:extLst>
      <p:ext uri="{BB962C8B-B14F-4D97-AF65-F5344CB8AC3E}">
        <p14:creationId xmlns:p14="http://schemas.microsoft.com/office/powerpoint/2010/main" val="1159091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E428A"/>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1C8478-7D18-41B8-9A20-A924C21316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4BF5D-8F9B-407A-AC8F-1C7206B5B53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BE128BB-F9C9-4D1E-8EF7-3A99EBCC7F36}"/>
              </a:ext>
            </a:extLst>
          </p:cNvPr>
          <p:cNvSpPr txBox="1"/>
          <p:nvPr/>
        </p:nvSpPr>
        <p:spPr>
          <a:xfrm>
            <a:off x="723014" y="3749979"/>
            <a:ext cx="10217888"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a:solidFill>
                  <a:prstClr val="white"/>
                </a:solidFill>
                <a:latin typeface="Arial" panose="020B0604020202020204" pitchFamily="34" charset="0"/>
                <a:cs typeface="Arial" panose="020B0604020202020204" pitchFamily="34" charset="0"/>
              </a:rPr>
              <a:t>The Region 2 RESPTC Website</a:t>
            </a:r>
          </a:p>
          <a:p>
            <a:pPr>
              <a:defRPr/>
            </a:pPr>
            <a:r>
              <a:rPr lang="en-US" sz="4800">
                <a:solidFill>
                  <a:schemeClr val="bg1"/>
                </a:solidFill>
                <a:latin typeface="Calibri" panose="020F0502020204030204"/>
                <a:hlinkClick r:id="rId2">
                  <a:extLst>
                    <a:ext uri="{A12FA001-AC4F-418D-AE19-62706E023703}">
                      <ahyp:hlinkClr xmlns:ahyp="http://schemas.microsoft.com/office/drawing/2018/hyperlinkcolor" val="tx"/>
                    </a:ext>
                  </a:extLst>
                </a:hlinkClick>
              </a:rPr>
              <a:t>www.r2resptc.org</a:t>
            </a:r>
            <a:endParaRPr lang="en-US" sz="4800">
              <a:solidFill>
                <a:schemeClr val="bg1"/>
              </a:solidFill>
              <a:latin typeface="Calibri" panose="020F0502020204030204"/>
            </a:endParaRPr>
          </a:p>
        </p:txBody>
      </p:sp>
    </p:spTree>
    <p:extLst>
      <p:ext uri="{BB962C8B-B14F-4D97-AF65-F5344CB8AC3E}">
        <p14:creationId xmlns:p14="http://schemas.microsoft.com/office/powerpoint/2010/main" val="31830951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Region 2 RESPTC Website</a:t>
            </a: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The </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hlinkClick r:id="rId3"/>
              </a:rPr>
              <a:t>website</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 officially launched in November 2023! Below highlights key resources available on the website. </a:t>
            </a:r>
          </a:p>
        </p:txBody>
      </p:sp>
      <p:sp>
        <p:nvSpPr>
          <p:cNvPr id="8" name="TextBox 7">
            <a:extLst>
              <a:ext uri="{FF2B5EF4-FFF2-40B4-BE49-F238E27FC236}">
                <a16:creationId xmlns:a16="http://schemas.microsoft.com/office/drawing/2014/main" id="{CFFD6CDD-B17F-5326-5ED1-CB1A9404D6C0}"/>
              </a:ext>
            </a:extLst>
          </p:cNvPr>
          <p:cNvSpPr txBox="1"/>
          <p:nvPr/>
        </p:nvSpPr>
        <p:spPr>
          <a:xfrm>
            <a:off x="603058" y="1247209"/>
            <a:ext cx="5671974" cy="3584058"/>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2000" b="1">
                <a:solidFill>
                  <a:prstClr val="black"/>
                </a:solidFill>
                <a:latin typeface="Calibri" panose="020F0502020204030204"/>
              </a:rPr>
              <a:t>RESPTC About Us</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a:solidFill>
                  <a:prstClr val="black"/>
                </a:solidFill>
                <a:latin typeface="Calibri" panose="020F0502020204030204"/>
              </a:rPr>
              <a:t>Learn about the Region 2 RESPTC on the </a:t>
            </a:r>
            <a:r>
              <a:rPr lang="en-US" sz="2000">
                <a:solidFill>
                  <a:prstClr val="black"/>
                </a:solidFill>
                <a:latin typeface="Calibri" panose="020F0502020204030204"/>
                <a:hlinkClick r:id="rId4"/>
              </a:rPr>
              <a:t>About Us pages</a:t>
            </a:r>
            <a:endParaRPr lang="en-US" sz="2000">
              <a:solidFill>
                <a:prstClr val="black"/>
              </a:solidFill>
              <a:latin typeface="Calibri" panose="020F0502020204030204"/>
            </a:endParaRPr>
          </a:p>
          <a:p>
            <a:pPr marL="285750" indent="-285750">
              <a:buFont typeface="Arial" panose="020B0604020202020204" pitchFamily="34" charset="0"/>
              <a:buChar char="•"/>
              <a:defRPr/>
            </a:pPr>
            <a:r>
              <a:rPr lang="en-US" sz="2000">
                <a:solidFill>
                  <a:prstClr val="black"/>
                </a:solidFill>
                <a:latin typeface="Calibri" panose="020F0502020204030204"/>
              </a:rPr>
              <a:t>This includes Region 2’s background and history, the team, and about the NSPS</a:t>
            </a:r>
          </a:p>
          <a:p>
            <a:pPr lvl="1">
              <a:defRPr/>
            </a:pPr>
            <a:endParaRPr lang="en-US" sz="2000" b="1">
              <a:solidFill>
                <a:prstClr val="black"/>
              </a:solidFill>
              <a:latin typeface="Calibri" panose="020F0502020204030204"/>
            </a:endParaRPr>
          </a:p>
          <a:p>
            <a:pPr marR="0" lvl="0" algn="l" defTabSz="914400" rtl="0" eaLnBrk="1" fontAlgn="auto" latinLnBrk="0" hangingPunct="1">
              <a:spcBef>
                <a:spcPts val="0"/>
              </a:spcBef>
              <a:spcAft>
                <a:spcPts val="0"/>
              </a:spcAft>
              <a:buClrTx/>
              <a:buSzTx/>
              <a:tabLst/>
              <a:defRPr/>
            </a:pPr>
            <a:r>
              <a:rPr lang="en-US" sz="2000" b="1">
                <a:solidFill>
                  <a:prstClr val="black"/>
                </a:solidFill>
                <a:latin typeface="Calibri" panose="020F0502020204030204"/>
              </a:rPr>
              <a:t>Contact Us</a:t>
            </a:r>
          </a:p>
          <a:p>
            <a:pPr marL="342900" indent="-342900">
              <a:buFont typeface="Arial" panose="020B0604020202020204" pitchFamily="34" charset="0"/>
              <a:buChar char="•"/>
              <a:defRPr/>
            </a:pPr>
            <a:r>
              <a:rPr lang="en-US" sz="2000">
                <a:solidFill>
                  <a:prstClr val="black"/>
                </a:solidFill>
                <a:latin typeface="Calibri" panose="020F0502020204030204"/>
              </a:rPr>
              <a:t>Contact information including the Program Training Center and Information Inquiries can be found on the </a:t>
            </a:r>
            <a:r>
              <a:rPr lang="en-US" sz="2000">
                <a:solidFill>
                  <a:prstClr val="black"/>
                </a:solidFill>
                <a:latin typeface="Calibri" panose="020F0502020204030204"/>
                <a:hlinkClick r:id="rId5"/>
              </a:rPr>
              <a:t>Contact Us page</a:t>
            </a:r>
            <a:endParaRPr lang="en-US" sz="2000">
              <a:solidFill>
                <a:prstClr val="black"/>
              </a:solidFill>
              <a:latin typeface="Calibri" panose="020F0502020204030204"/>
            </a:endParaRPr>
          </a:p>
          <a:p>
            <a:pPr marR="0" lvl="0" algn="l" defTabSz="914400" rtl="0" eaLnBrk="1" fontAlgn="auto" latinLnBrk="0" hangingPunct="1">
              <a:lnSpc>
                <a:spcPct val="150000"/>
              </a:lnSpc>
              <a:spcBef>
                <a:spcPts val="0"/>
              </a:spcBef>
              <a:spcAft>
                <a:spcPts val="0"/>
              </a:spcAft>
              <a:buClrTx/>
              <a:buSzTx/>
              <a:tabLst/>
              <a:defRPr/>
            </a:pPr>
            <a:endParaRPr lang="en-US" sz="2000" b="1">
              <a:solidFill>
                <a:prstClr val="black"/>
              </a:solidFill>
              <a:latin typeface="Calibri" panose="020F0502020204030204"/>
            </a:endParaRPr>
          </a:p>
        </p:txBody>
      </p:sp>
      <p:pic>
        <p:nvPicPr>
          <p:cNvPr id="9" name="Picture 8">
            <a:extLst>
              <a:ext uri="{FF2B5EF4-FFF2-40B4-BE49-F238E27FC236}">
                <a16:creationId xmlns:a16="http://schemas.microsoft.com/office/drawing/2014/main" id="{821F43D6-D4C3-707F-4818-A75873DB3F8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088709" y="1388320"/>
            <a:ext cx="4280331" cy="2585064"/>
          </a:xfrm>
          <a:prstGeom prst="rect">
            <a:avLst/>
          </a:prstGeom>
          <a:ln w="12700">
            <a:solidFill>
              <a:schemeClr val="tx1"/>
            </a:solidFill>
          </a:ln>
          <a:effectLst>
            <a:outerShdw blurRad="63500" sx="102000" sy="102000" algn="ctr" rotWithShape="0">
              <a:prstClr val="black">
                <a:alpha val="40000"/>
              </a:prstClr>
            </a:outerShdw>
          </a:effectLst>
        </p:spPr>
      </p:pic>
      <p:pic>
        <p:nvPicPr>
          <p:cNvPr id="13" name="Picture 12">
            <a:extLst>
              <a:ext uri="{FF2B5EF4-FFF2-40B4-BE49-F238E27FC236}">
                <a16:creationId xmlns:a16="http://schemas.microsoft.com/office/drawing/2014/main" id="{B2BF1FC7-E573-4FCD-70C2-2E3E2F0245B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866351" y="3605146"/>
            <a:ext cx="3933629" cy="2452241"/>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617800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Region 2 RESPTC Website Part 2</a:t>
            </a: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The </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hlinkClick r:id="rId3"/>
              </a:rPr>
              <a:t>website</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 officially launched in November 2023! Thank you to Bellevue’s Digital Solutions Team for all the support! Below highlights key resources available on the website. </a:t>
            </a:r>
          </a:p>
        </p:txBody>
      </p:sp>
      <p:sp>
        <p:nvSpPr>
          <p:cNvPr id="8" name="TextBox 7">
            <a:extLst>
              <a:ext uri="{FF2B5EF4-FFF2-40B4-BE49-F238E27FC236}">
                <a16:creationId xmlns:a16="http://schemas.microsoft.com/office/drawing/2014/main" id="{CFFD6CDD-B17F-5326-5ED1-CB1A9404D6C0}"/>
              </a:ext>
            </a:extLst>
          </p:cNvPr>
          <p:cNvSpPr txBox="1"/>
          <p:nvPr/>
        </p:nvSpPr>
        <p:spPr>
          <a:xfrm>
            <a:off x="603058" y="1247209"/>
            <a:ext cx="5671974" cy="4815164"/>
          </a:xfrm>
          <a:prstGeom prst="rect">
            <a:avLst/>
          </a:prstGeom>
          <a:noFill/>
        </p:spPr>
        <p:txBody>
          <a:bodyPr wrap="square" rtlCol="0">
            <a:spAutoFit/>
          </a:bodyPr>
          <a:lstStyle/>
          <a:p>
            <a:pPr marR="0" lvl="0" algn="l" defTabSz="914400" rtl="0" eaLnBrk="1" fontAlgn="auto" latinLnBrk="0" hangingPunct="1">
              <a:spcBef>
                <a:spcPts val="0"/>
              </a:spcBef>
              <a:spcAft>
                <a:spcPts val="0"/>
              </a:spcAft>
              <a:buClrTx/>
              <a:buSzTx/>
              <a:tabLst/>
              <a:defRPr/>
            </a:pPr>
            <a:r>
              <a:rPr lang="en-US" sz="2000" b="1">
                <a:solidFill>
                  <a:prstClr val="black"/>
                </a:solidFill>
                <a:latin typeface="Calibri" panose="020F0502020204030204"/>
              </a:rPr>
              <a:t>RESPTC Tools and Resources </a:t>
            </a:r>
          </a:p>
          <a:p>
            <a:pPr marL="285750" marR="0" lvl="0" indent="-28575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a:solidFill>
                  <a:prstClr val="black"/>
                </a:solidFill>
                <a:latin typeface="Calibri" panose="020F0502020204030204"/>
              </a:rPr>
              <a:t>R2 RESPTC offers free tools and resources that are continually updated on the </a:t>
            </a:r>
            <a:r>
              <a:rPr lang="en-US" sz="2000">
                <a:solidFill>
                  <a:prstClr val="black"/>
                </a:solidFill>
                <a:latin typeface="Calibri" panose="020F0502020204030204"/>
                <a:hlinkClick r:id="rId4"/>
              </a:rPr>
              <a:t>Tools &amp; Resources page</a:t>
            </a:r>
            <a:r>
              <a:rPr lang="en-US" sz="2000">
                <a:latin typeface="Calibri" panose="020F0502020204030204"/>
              </a:rPr>
              <a:t>, including: </a:t>
            </a:r>
          </a:p>
          <a:p>
            <a:pPr marL="742950" lvl="1" indent="-285750">
              <a:buFont typeface="Arial" panose="020B0604020202020204" pitchFamily="34" charset="0"/>
              <a:buChar char="•"/>
              <a:defRPr/>
            </a:pPr>
            <a:r>
              <a:rPr lang="en-US" sz="2000" b="1">
                <a:latin typeface="Calibri" panose="020F0502020204030204"/>
              </a:rPr>
              <a:t>NYC Health + Hospital’s monthly travel screening list </a:t>
            </a:r>
            <a:r>
              <a:rPr lang="en-US" sz="2000">
                <a:latin typeface="Calibri" panose="020F0502020204030204"/>
              </a:rPr>
              <a:t>to support </a:t>
            </a:r>
            <a:r>
              <a:rPr lang="en-US" sz="2000"/>
              <a:t>prompt identification, isolation and/or specialized evaluation and management</a:t>
            </a:r>
          </a:p>
          <a:p>
            <a:pPr marL="742950" lvl="1" indent="-285750">
              <a:buFont typeface="Arial" panose="020B0604020202020204" pitchFamily="34" charset="0"/>
              <a:buChar char="•"/>
              <a:defRPr/>
            </a:pPr>
            <a:r>
              <a:rPr kumimoji="0" lang="en-US" sz="2000" b="1" u="none" strike="noStrike" kern="1200" cap="none" spc="0" normalizeH="0" baseline="0" noProof="0">
                <a:ln>
                  <a:noFill/>
                </a:ln>
                <a:effectLst/>
                <a:uLnTx/>
                <a:uFillTx/>
                <a:latin typeface="Calibri" panose="020F0502020204030204"/>
                <a:ea typeface="+mn-ea"/>
                <a:cs typeface="+mn-cs"/>
              </a:rPr>
              <a:t>Partner resource highlights</a:t>
            </a:r>
            <a:r>
              <a:rPr kumimoji="0" lang="en-US" sz="2000" u="none" strike="noStrike" kern="1200" cap="none" spc="0" normalizeH="0" baseline="0" noProof="0">
                <a:ln>
                  <a:noFill/>
                </a:ln>
                <a:effectLst/>
                <a:uLnTx/>
                <a:uFillTx/>
                <a:latin typeface="Calibri" panose="020F0502020204030204"/>
                <a:ea typeface="+mn-ea"/>
                <a:cs typeface="+mn-cs"/>
              </a:rPr>
              <a:t>, such as relevant NETEC materials</a:t>
            </a:r>
            <a:endParaRPr kumimoji="0" lang="en-US" sz="2000" b="1" u="none" strike="noStrike" kern="1200" cap="none" spc="0" normalizeH="0" baseline="0" noProof="0">
              <a:ln>
                <a:noFill/>
              </a:ln>
              <a:effectLst/>
              <a:uLnTx/>
              <a:uFillTx/>
              <a:latin typeface="Calibri" panose="020F0502020204030204"/>
              <a:ea typeface="+mn-ea"/>
              <a:cs typeface="+mn-cs"/>
            </a:endParaRPr>
          </a:p>
          <a:p>
            <a:pPr lvl="1">
              <a:defRPr/>
            </a:pPr>
            <a:endParaRPr lang="en-US" sz="2000" b="1">
              <a:solidFill>
                <a:prstClr val="black"/>
              </a:solidFill>
              <a:latin typeface="Calibri" panose="020F0502020204030204"/>
            </a:endParaRPr>
          </a:p>
          <a:p>
            <a:pPr marR="0" lvl="0" algn="l" defTabSz="914400" rtl="0" eaLnBrk="1" fontAlgn="auto" latinLnBrk="0" hangingPunct="1">
              <a:spcBef>
                <a:spcPts val="0"/>
              </a:spcBef>
              <a:spcAft>
                <a:spcPts val="0"/>
              </a:spcAft>
              <a:buClrTx/>
              <a:buSzTx/>
              <a:tabLst/>
              <a:defRPr/>
            </a:pPr>
            <a:r>
              <a:rPr lang="en-US" sz="2000" b="1">
                <a:solidFill>
                  <a:prstClr val="black"/>
                </a:solidFill>
                <a:latin typeface="Calibri" panose="020F0502020204030204"/>
              </a:rPr>
              <a:t>News</a:t>
            </a:r>
          </a:p>
          <a:p>
            <a:pPr marL="342900" indent="-342900">
              <a:buFont typeface="Arial" panose="020B0604020202020204" pitchFamily="34" charset="0"/>
              <a:buChar char="•"/>
              <a:defRPr/>
            </a:pPr>
            <a:r>
              <a:rPr lang="en-US" sz="2000">
                <a:latin typeface="Calibri" panose="020F0502020204030204"/>
              </a:rPr>
              <a:t>Regular</a:t>
            </a:r>
            <a:r>
              <a:rPr lang="en-US" sz="2000">
                <a:solidFill>
                  <a:prstClr val="black"/>
                </a:solidFill>
                <a:latin typeface="Calibri" panose="020F0502020204030204"/>
              </a:rPr>
              <a:t> news stories are published on the </a:t>
            </a:r>
            <a:r>
              <a:rPr lang="en-US" sz="2000">
                <a:solidFill>
                  <a:prstClr val="black"/>
                </a:solidFill>
                <a:latin typeface="Calibri" panose="020F0502020204030204"/>
                <a:hlinkClick r:id="rId5"/>
              </a:rPr>
              <a:t>News page</a:t>
            </a:r>
            <a:endParaRPr lang="en-US" sz="2000">
              <a:solidFill>
                <a:prstClr val="black"/>
              </a:solidFill>
              <a:latin typeface="Calibri" panose="020F0502020204030204"/>
            </a:endParaRPr>
          </a:p>
          <a:p>
            <a:pPr marR="0" lvl="0" algn="l" defTabSz="914400" rtl="0" eaLnBrk="1" fontAlgn="auto" latinLnBrk="0" hangingPunct="1">
              <a:lnSpc>
                <a:spcPct val="150000"/>
              </a:lnSpc>
              <a:spcBef>
                <a:spcPts val="0"/>
              </a:spcBef>
              <a:spcAft>
                <a:spcPts val="0"/>
              </a:spcAft>
              <a:buClrTx/>
              <a:buSzTx/>
              <a:tabLst/>
              <a:defRPr/>
            </a:pPr>
            <a:endParaRPr lang="en-US" sz="2000" b="1">
              <a:solidFill>
                <a:prstClr val="black"/>
              </a:solidFill>
              <a:latin typeface="Calibri" panose="020F0502020204030204"/>
            </a:endParaRPr>
          </a:p>
        </p:txBody>
      </p:sp>
      <p:pic>
        <p:nvPicPr>
          <p:cNvPr id="13" name="Picture 12">
            <a:extLst>
              <a:ext uri="{FF2B5EF4-FFF2-40B4-BE49-F238E27FC236}">
                <a16:creationId xmlns:a16="http://schemas.microsoft.com/office/drawing/2014/main" id="{B2BF1FC7-E573-4FCD-70C2-2E3E2F0245B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228570" y="1247209"/>
            <a:ext cx="3833651" cy="2435852"/>
          </a:xfrm>
          <a:prstGeom prst="rect">
            <a:avLst/>
          </a:prstGeom>
          <a:ln w="12700">
            <a:solidFill>
              <a:schemeClr val="tx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821F43D6-D4C3-707F-4818-A75873DB3F8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228569" y="3890812"/>
            <a:ext cx="3833651" cy="2540000"/>
          </a:xfrm>
          <a:prstGeom prst="rect">
            <a:avLst/>
          </a:prstGeom>
          <a:ln w="12700">
            <a:solidFill>
              <a:schemeClr val="tx1"/>
            </a:solidFill>
          </a:ln>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901256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35BAE-7ABE-4A71-9AB3-7CCD18270BC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4BF5D-8F9B-407A-AC8F-1C7206B5B53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1ABEB552-FC05-4726-8630-22111FC75C23}"/>
              </a:ext>
            </a:extLst>
          </p:cNvPr>
          <p:cNvSpPr/>
          <p:nvPr/>
        </p:nvSpPr>
        <p:spPr>
          <a:xfrm>
            <a:off x="8603715" y="0"/>
            <a:ext cx="3586073" cy="6858000"/>
          </a:xfrm>
          <a:prstGeom prst="rect">
            <a:avLst/>
          </a:prstGeom>
          <a:solidFill>
            <a:srgbClr val="2141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solidFill>
                <a:prstClr val="white"/>
              </a:solidFill>
              <a:latin typeface="Arial" panose="020B0604020202020204" pitchFamily="34" charset="0"/>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OBJECTIV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Discuss recent news regarding Measles and TB</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Share updates regarding the mpox outbreak in the Democratic Republic of the Congo (DRC)</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rPr>
              <a:t>Review new Region 2 RESPTC Website</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solidFill>
                  <a:prstClr val="white"/>
                </a:solidFill>
                <a:latin typeface="Arial" panose="020B0604020202020204" pitchFamily="34" charset="0"/>
                <a:ea typeface="Open Sans" panose="020B0606030504020204" pitchFamily="34" charset="0"/>
                <a:cs typeface="Arial" panose="020B0604020202020204" pitchFamily="34" charset="0"/>
              </a:rPr>
              <a:t>Overview the Region 2 Patient Transport Concept of Operations (CONOPs)</a:t>
            </a: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D219FD86-B6F3-4E85-AAFB-5FFA3FEF47DD}"/>
              </a:ext>
            </a:extLst>
          </p:cNvPr>
          <p:cNvGrpSpPr/>
          <p:nvPr/>
        </p:nvGrpSpPr>
        <p:grpSpPr>
          <a:xfrm>
            <a:off x="914400" y="752499"/>
            <a:ext cx="4175393" cy="830997"/>
            <a:chOff x="914400" y="1649627"/>
            <a:chExt cx="4175393" cy="830997"/>
          </a:xfrm>
        </p:grpSpPr>
        <p:sp>
          <p:nvSpPr>
            <p:cNvPr id="5" name="TextBox 4">
              <a:extLst>
                <a:ext uri="{FF2B5EF4-FFF2-40B4-BE49-F238E27FC236}">
                  <a16:creationId xmlns:a16="http://schemas.microsoft.com/office/drawing/2014/main" id="{834EAD6F-6ACD-4192-B684-9B93050988A8}"/>
                </a:ext>
              </a:extLst>
            </p:cNvPr>
            <p:cNvSpPr txBox="1"/>
            <p:nvPr/>
          </p:nvSpPr>
          <p:spPr>
            <a:xfrm>
              <a:off x="914400" y="164962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1</a:t>
              </a:r>
            </a:p>
          </p:txBody>
        </p:sp>
        <p:sp>
          <p:nvSpPr>
            <p:cNvPr id="6" name="TextBox 5">
              <a:extLst>
                <a:ext uri="{FF2B5EF4-FFF2-40B4-BE49-F238E27FC236}">
                  <a16:creationId xmlns:a16="http://schemas.microsoft.com/office/drawing/2014/main" id="{98ED5FFE-B207-4851-94A8-794F6A7DE5F0}"/>
                </a:ext>
              </a:extLst>
            </p:cNvPr>
            <p:cNvSpPr txBox="1"/>
            <p:nvPr/>
          </p:nvSpPr>
          <p:spPr>
            <a:xfrm>
              <a:off x="1805881" y="1899641"/>
              <a:ext cx="32839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elcome &amp; Opening Remarks</a:t>
              </a:r>
            </a:p>
          </p:txBody>
        </p:sp>
        <p:cxnSp>
          <p:nvCxnSpPr>
            <p:cNvPr id="7" name="Straight Connector 6">
              <a:extLst>
                <a:ext uri="{FF2B5EF4-FFF2-40B4-BE49-F238E27FC236}">
                  <a16:creationId xmlns:a16="http://schemas.microsoft.com/office/drawing/2014/main" id="{2CAAAC3E-4B92-4E43-BC52-CA59CDE823BD}"/>
                </a:ext>
              </a:extLst>
            </p:cNvPr>
            <p:cNvCxnSpPr/>
            <p:nvPr/>
          </p:nvCxnSpPr>
          <p:spPr>
            <a:xfrm>
              <a:off x="1576091" y="1741750"/>
              <a:ext cx="0" cy="646750"/>
            </a:xfrm>
            <a:prstGeom prst="line">
              <a:avLst/>
            </a:prstGeom>
            <a:ln w="63500">
              <a:solidFill>
                <a:srgbClr val="1E428A"/>
              </a:solidFill>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3748B3AE-EFFF-496B-ACE0-D4571BEB8BE9}"/>
              </a:ext>
            </a:extLst>
          </p:cNvPr>
          <p:cNvGrpSpPr/>
          <p:nvPr/>
        </p:nvGrpSpPr>
        <p:grpSpPr>
          <a:xfrm>
            <a:off x="914400" y="1708505"/>
            <a:ext cx="4362944" cy="830997"/>
            <a:chOff x="914400" y="2833257"/>
            <a:chExt cx="4362944" cy="830997"/>
          </a:xfrm>
        </p:grpSpPr>
        <p:sp>
          <p:nvSpPr>
            <p:cNvPr id="9" name="TextBox 8">
              <a:extLst>
                <a:ext uri="{FF2B5EF4-FFF2-40B4-BE49-F238E27FC236}">
                  <a16:creationId xmlns:a16="http://schemas.microsoft.com/office/drawing/2014/main" id="{BA545B7E-1590-4885-B1C3-37AA80CC7BD8}"/>
                </a:ext>
              </a:extLst>
            </p:cNvPr>
            <p:cNvSpPr txBox="1"/>
            <p:nvPr/>
          </p:nvSpPr>
          <p:spPr>
            <a:xfrm>
              <a:off x="914400" y="2833257"/>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2</a:t>
              </a:r>
            </a:p>
          </p:txBody>
        </p:sp>
        <p:sp>
          <p:nvSpPr>
            <p:cNvPr id="10" name="TextBox 9">
              <a:extLst>
                <a:ext uri="{FF2B5EF4-FFF2-40B4-BE49-F238E27FC236}">
                  <a16:creationId xmlns:a16="http://schemas.microsoft.com/office/drawing/2014/main" id="{94717824-BD8F-4487-AC45-36C62754E7C0}"/>
                </a:ext>
              </a:extLst>
            </p:cNvPr>
            <p:cNvSpPr txBox="1"/>
            <p:nvPr/>
          </p:nvSpPr>
          <p:spPr>
            <a:xfrm>
              <a:off x="1805881" y="3064089"/>
              <a:ext cx="34714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cent News | Measles and TB </a:t>
              </a:r>
            </a:p>
          </p:txBody>
        </p:sp>
        <p:cxnSp>
          <p:nvCxnSpPr>
            <p:cNvPr id="11" name="Straight Connector 10">
              <a:extLst>
                <a:ext uri="{FF2B5EF4-FFF2-40B4-BE49-F238E27FC236}">
                  <a16:creationId xmlns:a16="http://schemas.microsoft.com/office/drawing/2014/main" id="{550C257E-46B2-400B-917C-8A6D15CA3FDB}"/>
                </a:ext>
              </a:extLst>
            </p:cNvPr>
            <p:cNvCxnSpPr>
              <a:cxnSpLocks/>
            </p:cNvCxnSpPr>
            <p:nvPr/>
          </p:nvCxnSpPr>
          <p:spPr>
            <a:xfrm>
              <a:off x="1576091" y="2925380"/>
              <a:ext cx="0" cy="646750"/>
            </a:xfrm>
            <a:prstGeom prst="line">
              <a:avLst/>
            </a:prstGeom>
            <a:ln w="63500">
              <a:solidFill>
                <a:srgbClr val="E3851D"/>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97818ED5-671A-41B6-8FED-35CC51D78E82}"/>
              </a:ext>
            </a:extLst>
          </p:cNvPr>
          <p:cNvGrpSpPr/>
          <p:nvPr/>
        </p:nvGrpSpPr>
        <p:grpSpPr>
          <a:xfrm>
            <a:off x="914400" y="2664511"/>
            <a:ext cx="5162907" cy="830997"/>
            <a:chOff x="914400" y="2800583"/>
            <a:chExt cx="5162907" cy="830997"/>
          </a:xfrm>
        </p:grpSpPr>
        <p:sp>
          <p:nvSpPr>
            <p:cNvPr id="21" name="TextBox 20">
              <a:extLst>
                <a:ext uri="{FF2B5EF4-FFF2-40B4-BE49-F238E27FC236}">
                  <a16:creationId xmlns:a16="http://schemas.microsoft.com/office/drawing/2014/main" id="{FDD3C984-00F0-4007-AE83-C6600D444C95}"/>
                </a:ext>
              </a:extLst>
            </p:cNvPr>
            <p:cNvSpPr txBox="1"/>
            <p:nvPr/>
          </p:nvSpPr>
          <p:spPr>
            <a:xfrm>
              <a:off x="914400" y="2800583"/>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3</a:t>
              </a:r>
            </a:p>
          </p:txBody>
        </p:sp>
        <p:sp>
          <p:nvSpPr>
            <p:cNvPr id="22" name="TextBox 21">
              <a:extLst>
                <a:ext uri="{FF2B5EF4-FFF2-40B4-BE49-F238E27FC236}">
                  <a16:creationId xmlns:a16="http://schemas.microsoft.com/office/drawing/2014/main" id="{8E87DE34-01F2-4ECD-91AE-EE49BB31015D}"/>
                </a:ext>
              </a:extLst>
            </p:cNvPr>
            <p:cNvSpPr txBox="1"/>
            <p:nvPr/>
          </p:nvSpPr>
          <p:spPr>
            <a:xfrm>
              <a:off x="1805881" y="3050597"/>
              <a:ext cx="427142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pox Updates and Available Resources</a:t>
              </a:r>
            </a:p>
          </p:txBody>
        </p:sp>
        <p:cxnSp>
          <p:nvCxnSpPr>
            <p:cNvPr id="23" name="Straight Connector 22">
              <a:extLst>
                <a:ext uri="{FF2B5EF4-FFF2-40B4-BE49-F238E27FC236}">
                  <a16:creationId xmlns:a16="http://schemas.microsoft.com/office/drawing/2014/main" id="{97B7915F-0FBE-4710-B4F0-D94AAC487C43}"/>
                </a:ext>
              </a:extLst>
            </p:cNvPr>
            <p:cNvCxnSpPr/>
            <p:nvPr/>
          </p:nvCxnSpPr>
          <p:spPr>
            <a:xfrm>
              <a:off x="1576091" y="2892706"/>
              <a:ext cx="0" cy="646750"/>
            </a:xfrm>
            <a:prstGeom prst="line">
              <a:avLst/>
            </a:prstGeom>
            <a:ln w="63500">
              <a:solidFill>
                <a:srgbClr val="95D600"/>
              </a:solidFill>
            </a:ln>
          </p:spPr>
          <p:style>
            <a:lnRef idx="1">
              <a:schemeClr val="accent1"/>
            </a:lnRef>
            <a:fillRef idx="0">
              <a:schemeClr val="accent1"/>
            </a:fillRef>
            <a:effectRef idx="0">
              <a:schemeClr val="accent1"/>
            </a:effectRef>
            <a:fontRef idx="minor">
              <a:schemeClr val="tx1"/>
            </a:fontRef>
          </p:style>
        </p:cxnSp>
      </p:grpSp>
      <p:sp>
        <p:nvSpPr>
          <p:cNvPr id="24" name="Title 3">
            <a:extLst>
              <a:ext uri="{FF2B5EF4-FFF2-40B4-BE49-F238E27FC236}">
                <a16:creationId xmlns:a16="http://schemas.microsoft.com/office/drawing/2014/main" id="{964923DB-2256-419B-A063-3239D1FC888E}"/>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Arial" panose="020B0604020202020204" pitchFamily="34" charset="0"/>
                <a:ea typeface="+mj-ea"/>
                <a:cs typeface="Arial" panose="020B0604020202020204" pitchFamily="34" charset="0"/>
              </a:rPr>
              <a:t>Agenda</a:t>
            </a:r>
          </a:p>
        </p:txBody>
      </p:sp>
      <p:pic>
        <p:nvPicPr>
          <p:cNvPr id="25" name="Picture 2" descr="Robert Dweck: NYC Health + Hospitals Brand">
            <a:extLst>
              <a:ext uri="{FF2B5EF4-FFF2-40B4-BE49-F238E27FC236}">
                <a16:creationId xmlns:a16="http://schemas.microsoft.com/office/drawing/2014/main" id="{40437698-54F8-95F2-3AE3-28E6A8CDFCE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301" t="38421" r="20676" b="39474"/>
          <a:stretch/>
        </p:blipFill>
        <p:spPr bwMode="auto">
          <a:xfrm>
            <a:off x="10509250" y="38100"/>
            <a:ext cx="1627095" cy="435275"/>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3136F1D7-3FB5-43F9-3767-82C4CB82490E}"/>
              </a:ext>
            </a:extLst>
          </p:cNvPr>
          <p:cNvGrpSpPr/>
          <p:nvPr/>
        </p:nvGrpSpPr>
        <p:grpSpPr>
          <a:xfrm>
            <a:off x="914400" y="3620517"/>
            <a:ext cx="3893265" cy="896345"/>
            <a:chOff x="914400" y="3951539"/>
            <a:chExt cx="3893265" cy="896345"/>
          </a:xfrm>
        </p:grpSpPr>
        <p:sp>
          <p:nvSpPr>
            <p:cNvPr id="19" name="TextBox 18">
              <a:extLst>
                <a:ext uri="{FF2B5EF4-FFF2-40B4-BE49-F238E27FC236}">
                  <a16:creationId xmlns:a16="http://schemas.microsoft.com/office/drawing/2014/main" id="{417EFE47-2C58-D7EA-B283-B8CE0E1EAF9D}"/>
                </a:ext>
              </a:extLst>
            </p:cNvPr>
            <p:cNvSpPr txBox="1"/>
            <p:nvPr/>
          </p:nvSpPr>
          <p:spPr>
            <a:xfrm>
              <a:off x="914400" y="3951539"/>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4</a:t>
              </a:r>
            </a:p>
          </p:txBody>
        </p:sp>
        <p:sp>
          <p:nvSpPr>
            <p:cNvPr id="26" name="TextBox 25">
              <a:extLst>
                <a:ext uri="{FF2B5EF4-FFF2-40B4-BE49-F238E27FC236}">
                  <a16:creationId xmlns:a16="http://schemas.microsoft.com/office/drawing/2014/main" id="{C09AC09E-0211-6AA6-A7EE-F1CF03E90880}"/>
                </a:ext>
              </a:extLst>
            </p:cNvPr>
            <p:cNvSpPr txBox="1"/>
            <p:nvPr/>
          </p:nvSpPr>
          <p:spPr>
            <a:xfrm>
              <a:off x="1805881" y="4201553"/>
              <a:ext cx="3001784" cy="646331"/>
            </a:xfrm>
            <a:prstGeom prst="rect">
              <a:avLst/>
            </a:prstGeom>
            <a:noFill/>
          </p:spPr>
          <p:txBody>
            <a:bodyPr wrap="none" rtlCol="0">
              <a:spAutoFit/>
            </a:bodyPr>
            <a:lstStyle/>
            <a:p>
              <a:pPr>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gion 2 RESPTC Websi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27" name="Straight Connector 26">
              <a:extLst>
                <a:ext uri="{FF2B5EF4-FFF2-40B4-BE49-F238E27FC236}">
                  <a16:creationId xmlns:a16="http://schemas.microsoft.com/office/drawing/2014/main" id="{56207B8D-E68C-5920-9C70-E9870C8EBC19}"/>
                </a:ext>
              </a:extLst>
            </p:cNvPr>
            <p:cNvCxnSpPr/>
            <p:nvPr/>
          </p:nvCxnSpPr>
          <p:spPr>
            <a:xfrm>
              <a:off x="1576091" y="4043662"/>
              <a:ext cx="0" cy="646750"/>
            </a:xfrm>
            <a:prstGeom prst="line">
              <a:avLst/>
            </a:prstGeom>
            <a:ln w="63500">
              <a:solidFill>
                <a:srgbClr val="4597CB"/>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F9559EE3-7158-801F-F5A6-5B14FFB9285A}"/>
              </a:ext>
            </a:extLst>
          </p:cNvPr>
          <p:cNvGrpSpPr/>
          <p:nvPr/>
        </p:nvGrpSpPr>
        <p:grpSpPr>
          <a:xfrm>
            <a:off x="914400" y="4641871"/>
            <a:ext cx="3859025" cy="830997"/>
            <a:chOff x="914400" y="5102495"/>
            <a:chExt cx="3859025" cy="830997"/>
          </a:xfrm>
        </p:grpSpPr>
        <p:sp>
          <p:nvSpPr>
            <p:cNvPr id="29" name="TextBox 28">
              <a:extLst>
                <a:ext uri="{FF2B5EF4-FFF2-40B4-BE49-F238E27FC236}">
                  <a16:creationId xmlns:a16="http://schemas.microsoft.com/office/drawing/2014/main" id="{A9A62A9A-0D15-2210-B0DB-2EF48B178557}"/>
                </a:ext>
              </a:extLst>
            </p:cNvPr>
            <p:cNvSpPr txBox="1"/>
            <p:nvPr/>
          </p:nvSpPr>
          <p:spPr>
            <a:xfrm>
              <a:off x="914400" y="5102495"/>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5</a:t>
              </a:r>
            </a:p>
          </p:txBody>
        </p:sp>
        <p:sp>
          <p:nvSpPr>
            <p:cNvPr id="30" name="TextBox 29">
              <a:extLst>
                <a:ext uri="{FF2B5EF4-FFF2-40B4-BE49-F238E27FC236}">
                  <a16:creationId xmlns:a16="http://schemas.microsoft.com/office/drawing/2014/main" id="{77EDFF8D-1EF6-98A4-B71B-760476B2FD5F}"/>
                </a:ext>
              </a:extLst>
            </p:cNvPr>
            <p:cNvSpPr txBox="1"/>
            <p:nvPr/>
          </p:nvSpPr>
          <p:spPr>
            <a:xfrm>
              <a:off x="1805881" y="5352509"/>
              <a:ext cx="2967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tient Transport CONOPs</a:t>
              </a:r>
            </a:p>
          </p:txBody>
        </p:sp>
        <p:cxnSp>
          <p:nvCxnSpPr>
            <p:cNvPr id="31" name="Straight Connector 30">
              <a:extLst>
                <a:ext uri="{FF2B5EF4-FFF2-40B4-BE49-F238E27FC236}">
                  <a16:creationId xmlns:a16="http://schemas.microsoft.com/office/drawing/2014/main" id="{9172DA74-9363-D621-BF2A-E4601FA74F4D}"/>
                </a:ext>
              </a:extLst>
            </p:cNvPr>
            <p:cNvCxnSpPr/>
            <p:nvPr/>
          </p:nvCxnSpPr>
          <p:spPr>
            <a:xfrm>
              <a:off x="1576091" y="5194618"/>
              <a:ext cx="0" cy="646750"/>
            </a:xfrm>
            <a:prstGeom prst="line">
              <a:avLst/>
            </a:prstGeom>
            <a:ln w="63500">
              <a:solidFill>
                <a:srgbClr val="7030A0"/>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E95847E2-DC03-7E80-CEEA-A1E0EC438E87}"/>
              </a:ext>
            </a:extLst>
          </p:cNvPr>
          <p:cNvGrpSpPr/>
          <p:nvPr/>
        </p:nvGrpSpPr>
        <p:grpSpPr>
          <a:xfrm>
            <a:off x="914400" y="5597879"/>
            <a:ext cx="1563460" cy="830997"/>
            <a:chOff x="914400" y="5102495"/>
            <a:chExt cx="1563460" cy="830997"/>
          </a:xfrm>
        </p:grpSpPr>
        <p:sp>
          <p:nvSpPr>
            <p:cNvPr id="13" name="TextBox 12">
              <a:extLst>
                <a:ext uri="{FF2B5EF4-FFF2-40B4-BE49-F238E27FC236}">
                  <a16:creationId xmlns:a16="http://schemas.microsoft.com/office/drawing/2014/main" id="{3E32B77B-7C23-E7B0-0C0C-2BCEE7B88E7A}"/>
                </a:ext>
              </a:extLst>
            </p:cNvPr>
            <p:cNvSpPr txBox="1"/>
            <p:nvPr/>
          </p:nvSpPr>
          <p:spPr>
            <a:xfrm>
              <a:off x="914400" y="5102495"/>
              <a:ext cx="49725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6</a:t>
              </a:r>
            </a:p>
          </p:txBody>
        </p:sp>
        <p:sp>
          <p:nvSpPr>
            <p:cNvPr id="14" name="TextBox 13">
              <a:extLst>
                <a:ext uri="{FF2B5EF4-FFF2-40B4-BE49-F238E27FC236}">
                  <a16:creationId xmlns:a16="http://schemas.microsoft.com/office/drawing/2014/main" id="{A26777F1-3E08-1C93-051C-E843449AEB63}"/>
                </a:ext>
              </a:extLst>
            </p:cNvPr>
            <p:cNvSpPr txBox="1"/>
            <p:nvPr/>
          </p:nvSpPr>
          <p:spPr>
            <a:xfrm>
              <a:off x="1805881" y="5352509"/>
              <a:ext cx="67197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Q&amp;A</a:t>
              </a:r>
            </a:p>
          </p:txBody>
        </p:sp>
        <p:cxnSp>
          <p:nvCxnSpPr>
            <p:cNvPr id="15" name="Straight Connector 14">
              <a:extLst>
                <a:ext uri="{FF2B5EF4-FFF2-40B4-BE49-F238E27FC236}">
                  <a16:creationId xmlns:a16="http://schemas.microsoft.com/office/drawing/2014/main" id="{19FBD2FF-9A35-486A-5298-9ABFEF961B12}"/>
                </a:ext>
              </a:extLst>
            </p:cNvPr>
            <p:cNvCxnSpPr/>
            <p:nvPr/>
          </p:nvCxnSpPr>
          <p:spPr>
            <a:xfrm>
              <a:off x="1576091" y="5194618"/>
              <a:ext cx="0" cy="646750"/>
            </a:xfrm>
            <a:prstGeom prst="line">
              <a:avLst/>
            </a:prstGeom>
            <a:ln w="63500">
              <a:solidFill>
                <a:srgbClr val="EA1D7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18155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35BAE-7ABE-4A71-9AB3-7CCD18270BCD}"/>
              </a:ext>
            </a:extLst>
          </p:cNvPr>
          <p:cNvSpPr>
            <a:spLocks noGrp="1"/>
          </p:cNvSpPr>
          <p:nvPr>
            <p:ph type="sldNum" sz="quarter" idx="12"/>
          </p:nvPr>
        </p:nvSpPr>
        <p:spPr/>
        <p:txBody>
          <a:bodyPr/>
          <a:lstStyle/>
          <a:p>
            <a:fld id="{77F4BF5D-8F9B-407A-AC8F-1C7206B5B534}" type="slidenum">
              <a:rPr lang="en-US" smtClean="0"/>
              <a:t>20</a:t>
            </a:fld>
            <a:endParaRPr lang="en-US"/>
          </a:p>
        </p:txBody>
      </p:sp>
      <p:sp>
        <p:nvSpPr>
          <p:cNvPr id="24" name="Title 3">
            <a:extLst>
              <a:ext uri="{FF2B5EF4-FFF2-40B4-BE49-F238E27FC236}">
                <a16:creationId xmlns:a16="http://schemas.microsoft.com/office/drawing/2014/main" id="{964923DB-2256-419B-A063-3239D1FC888E}"/>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a:defRPr/>
            </a:pPr>
            <a:r>
              <a:rPr lang="en-US">
                <a:solidFill>
                  <a:sysClr val="windowText" lastClr="000000"/>
                </a:solidFill>
                <a:latin typeface="+mn-lt"/>
                <a:cs typeface="Arial" panose="020B0604020202020204" pitchFamily="34" charset="0"/>
              </a:rPr>
              <a:t>Trivia #</a:t>
            </a:r>
            <a:r>
              <a:rPr lang="en-US">
                <a:latin typeface="+mn-lt"/>
                <a:cs typeface="Arial" panose="020B0604020202020204" pitchFamily="34" charset="0"/>
              </a:rPr>
              <a:t>3</a:t>
            </a:r>
          </a:p>
        </p:txBody>
      </p:sp>
      <p:pic>
        <p:nvPicPr>
          <p:cNvPr id="26" name="Picture 25">
            <a:extLst>
              <a:ext uri="{FF2B5EF4-FFF2-40B4-BE49-F238E27FC236}">
                <a16:creationId xmlns:a16="http://schemas.microsoft.com/office/drawing/2014/main" id="{A2E44B7A-42C4-73C2-7C53-BABF50439C4F}"/>
              </a:ext>
            </a:extLst>
          </p:cNvPr>
          <p:cNvPicPr>
            <a:picLocks noChangeAspect="1"/>
          </p:cNvPicPr>
          <p:nvPr/>
        </p:nvPicPr>
        <p:blipFill rotWithShape="1">
          <a:blip r:embed="rId2">
            <a:extLst>
              <a:ext uri="{28A0092B-C50C-407E-A947-70E740481C1C}">
                <a14:useLocalDpi xmlns:a14="http://schemas.microsoft.com/office/drawing/2010/main" val="0"/>
              </a:ext>
            </a:extLst>
          </a:blip>
          <a:srcRect t="122" b="122"/>
          <a:stretch/>
        </p:blipFill>
        <p:spPr>
          <a:xfrm>
            <a:off x="6747834" y="1513839"/>
            <a:ext cx="3830320" cy="3830320"/>
          </a:xfrm>
          <a:prstGeom prst="ellipse">
            <a:avLst/>
          </a:prstGeom>
          <a:ln w="63500" cap="rnd">
            <a:noFill/>
          </a:ln>
          <a:effectLst>
            <a:outerShdw blurRad="381000" dist="292100" dir="5400000" sx="-80000" sy="-18000" rotWithShape="0">
              <a:srgbClr val="000000">
                <a:alpha val="22000"/>
              </a:srgbClr>
            </a:outerShdw>
          </a:effectLst>
        </p:spPr>
      </p:pic>
      <p:sp>
        <p:nvSpPr>
          <p:cNvPr id="3" name="TextBox 2">
            <a:extLst>
              <a:ext uri="{FF2B5EF4-FFF2-40B4-BE49-F238E27FC236}">
                <a16:creationId xmlns:a16="http://schemas.microsoft.com/office/drawing/2014/main" id="{802F4057-D21A-82FD-C579-A946465549FD}"/>
              </a:ext>
            </a:extLst>
          </p:cNvPr>
          <p:cNvSpPr txBox="1"/>
          <p:nvPr/>
        </p:nvSpPr>
        <p:spPr>
          <a:xfrm>
            <a:off x="617633" y="1270029"/>
            <a:ext cx="5706049" cy="4278094"/>
          </a:xfrm>
          <a:prstGeom prst="rect">
            <a:avLst/>
          </a:prstGeom>
          <a:noFill/>
        </p:spPr>
        <p:txBody>
          <a:bodyPr wrap="square" lIns="0" tIns="0" rIns="0" bIns="0" rtlCol="0" anchor="t">
            <a:spAutoFit/>
          </a:bodyPr>
          <a:lstStyle/>
          <a:p>
            <a:pPr>
              <a:defRPr/>
            </a:pPr>
            <a:r>
              <a:rPr kumimoji="0" lang="en-US" sz="3200" b="1" i="0" u="none" strike="noStrike" kern="1200" cap="none" spc="0" normalizeH="0" baseline="0" noProof="0">
                <a:ln>
                  <a:noFill/>
                </a:ln>
                <a:solidFill>
                  <a:srgbClr val="1E428A"/>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rPr>
              <a:t>Where can you find the updated </a:t>
            </a:r>
            <a:r>
              <a:rPr lang="en-US" sz="3200" b="1">
                <a:solidFill>
                  <a:srgbClr val="1E428A"/>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vel screening list</a:t>
            </a:r>
            <a:r>
              <a:rPr kumimoji="0" lang="en-US" sz="3200" b="1" i="0" u="none" strike="noStrike" kern="1200" cap="none" spc="0" normalizeH="0" baseline="0" noProof="0">
                <a:ln>
                  <a:noFill/>
                </a:ln>
                <a:solidFill>
                  <a:srgbClr val="1E428A"/>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rPr>
              <a:t>?</a:t>
            </a:r>
          </a:p>
          <a:p>
            <a:pPr marL="800100" lvl="1" indent="-342900">
              <a:lnSpc>
                <a:spcPct val="200000"/>
              </a:lnSpc>
              <a:spcBef>
                <a:spcPts val="600"/>
              </a:spcBef>
              <a:buFont typeface="+mj-lt"/>
              <a:buAutoNum type="alphaUcPeriod"/>
              <a:defRPr/>
            </a:pPr>
            <a:r>
              <a:rPr lang="en-US">
                <a:solidFill>
                  <a:prstClr val="black"/>
                </a:solidFill>
                <a:cs typeface="Arial" panose="020B0604020202020204" pitchFamily="34" charset="0"/>
              </a:rPr>
              <a:t>Under “News”</a:t>
            </a:r>
            <a:endParaRPr kumimoji="0" lang="en-US" b="0" i="0" u="none" strike="noStrike" kern="1200" cap="none" spc="0" normalizeH="0" baseline="0" noProof="0">
              <a:ln>
                <a:noFill/>
              </a:ln>
              <a:solidFill>
                <a:prstClr val="black"/>
              </a:solidFill>
              <a:effectLst/>
              <a:uLnTx/>
              <a:uFillTx/>
              <a:cs typeface="Arial" panose="020B0604020202020204" pitchFamily="34" charset="0"/>
            </a:endParaRPr>
          </a:p>
          <a:p>
            <a:pPr marL="800100" lvl="1" indent="-342900">
              <a:lnSpc>
                <a:spcPct val="200000"/>
              </a:lnSpc>
              <a:spcBef>
                <a:spcPts val="600"/>
              </a:spcBef>
              <a:buFont typeface="+mj-lt"/>
              <a:buAutoNum type="alphaUcPeriod"/>
              <a:defRPr/>
            </a:pPr>
            <a:r>
              <a:rPr kumimoji="0" lang="en-US" b="0" i="0" u="none" strike="noStrike" kern="1200" cap="none" spc="0" normalizeH="0" baseline="0" noProof="0">
                <a:ln>
                  <a:noFill/>
                </a:ln>
                <a:solidFill>
                  <a:prstClr val="black"/>
                </a:solidFill>
                <a:effectLst/>
                <a:uLnTx/>
                <a:uFillTx/>
                <a:cs typeface="Arial" panose="020B0604020202020204" pitchFamily="34" charset="0"/>
              </a:rPr>
              <a:t>Under “Tools &amp; Resources”</a:t>
            </a:r>
          </a:p>
          <a:p>
            <a:pPr marL="800100" lvl="1" indent="-342900">
              <a:lnSpc>
                <a:spcPct val="200000"/>
              </a:lnSpc>
              <a:spcBef>
                <a:spcPts val="600"/>
              </a:spcBef>
              <a:buFont typeface="+mj-lt"/>
              <a:buAutoNum type="alphaUcPeriod"/>
              <a:defRPr/>
            </a:pPr>
            <a:r>
              <a:rPr lang="en-US">
                <a:solidFill>
                  <a:prstClr val="black"/>
                </a:solidFill>
                <a:cs typeface="Arial" panose="020B0604020202020204" pitchFamily="34" charset="0"/>
              </a:rPr>
              <a:t>Under “About the Region 2 RESPTC”</a:t>
            </a:r>
            <a:endParaRPr kumimoji="0" lang="en-US" b="0" i="0" u="none" strike="noStrike" kern="1200" cap="none" spc="0" normalizeH="0" baseline="0" noProof="0">
              <a:ln>
                <a:noFill/>
              </a:ln>
              <a:solidFill>
                <a:prstClr val="black"/>
              </a:solidFill>
              <a:effectLst/>
              <a:uLnTx/>
              <a:uFillTx/>
              <a:cs typeface="Arial" panose="020B0604020202020204" pitchFamily="34" charset="0"/>
            </a:endParaRPr>
          </a:p>
          <a:p>
            <a:pPr marL="800100" lvl="1" indent="-342900">
              <a:lnSpc>
                <a:spcPct val="200000"/>
              </a:lnSpc>
              <a:spcBef>
                <a:spcPts val="600"/>
              </a:spcBef>
              <a:buFont typeface="+mj-lt"/>
              <a:buAutoNum type="alphaUcPeriod"/>
              <a:defRPr/>
            </a:pPr>
            <a:r>
              <a:rPr lang="en-US">
                <a:solidFill>
                  <a:prstClr val="black"/>
                </a:solidFill>
                <a:cs typeface="Arial" panose="020B0604020202020204" pitchFamily="34" charset="0"/>
              </a:rPr>
              <a:t>Under “About the NSPS”</a:t>
            </a:r>
            <a:endParaRPr kumimoji="0" lang="en-US" b="0" i="0" u="none" strike="noStrike" kern="1200" cap="none" spc="0" normalizeH="0" baseline="0" noProof="0">
              <a:ln>
                <a:noFill/>
              </a:ln>
              <a:solidFill>
                <a:prstClr val="black"/>
              </a:solidFill>
              <a:effectLst/>
              <a:uLnTx/>
              <a:uFillTx/>
              <a:cs typeface="Arial" panose="020B0604020202020204" pitchFamily="34" charset="0"/>
            </a:endParaRPr>
          </a:p>
          <a:p>
            <a:pPr>
              <a:defRPr/>
            </a:pPr>
            <a:endPar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EBE7BE94-63B6-6DEE-D703-3611AB79BD2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212775" y="572508"/>
            <a:ext cx="723182" cy="719671"/>
          </a:xfrm>
          <a:prstGeom prst="rect">
            <a:avLst/>
          </a:prstGeom>
        </p:spPr>
      </p:pic>
      <p:sp>
        <p:nvSpPr>
          <p:cNvPr id="6" name="TextBox 5">
            <a:extLst>
              <a:ext uri="{FF2B5EF4-FFF2-40B4-BE49-F238E27FC236}">
                <a16:creationId xmlns:a16="http://schemas.microsoft.com/office/drawing/2014/main" id="{060E0A0B-93A9-5D42-65B1-2C3C14B8DB7E}"/>
              </a:ext>
            </a:extLst>
          </p:cNvPr>
          <p:cNvSpPr txBox="1"/>
          <p:nvPr/>
        </p:nvSpPr>
        <p:spPr>
          <a:xfrm>
            <a:off x="10885322" y="1242893"/>
            <a:ext cx="13780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can to answer</a:t>
            </a:r>
          </a:p>
        </p:txBody>
      </p:sp>
      <p:pic>
        <p:nvPicPr>
          <p:cNvPr id="7" name="Graphic 6" descr="Checkmark with solid fill">
            <a:extLst>
              <a:ext uri="{FF2B5EF4-FFF2-40B4-BE49-F238E27FC236}">
                <a16:creationId xmlns:a16="http://schemas.microsoft.com/office/drawing/2014/main" id="{34776EFF-42E7-0F2E-D32A-B2FFF4F8C4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9872" y="3572220"/>
            <a:ext cx="457200" cy="457200"/>
          </a:xfrm>
          <a:prstGeom prst="rect">
            <a:avLst/>
          </a:prstGeom>
        </p:spPr>
      </p:pic>
    </p:spTree>
    <p:extLst>
      <p:ext uri="{BB962C8B-B14F-4D97-AF65-F5344CB8AC3E}">
        <p14:creationId xmlns:p14="http://schemas.microsoft.com/office/powerpoint/2010/main" val="1132225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35BAE-7ABE-4A71-9AB3-7CCD18270BCD}"/>
              </a:ext>
            </a:extLst>
          </p:cNvPr>
          <p:cNvSpPr>
            <a:spLocks noGrp="1"/>
          </p:cNvSpPr>
          <p:nvPr>
            <p:ph type="sldNum" sz="quarter" idx="12"/>
          </p:nvPr>
        </p:nvSpPr>
        <p:spPr/>
        <p:txBody>
          <a:bodyPr/>
          <a:lstStyle/>
          <a:p>
            <a:fld id="{77F4BF5D-8F9B-407A-AC8F-1C7206B5B534}" type="slidenum">
              <a:rPr lang="en-US" smtClean="0"/>
              <a:t>21</a:t>
            </a:fld>
            <a:endParaRPr lang="en-US"/>
          </a:p>
        </p:txBody>
      </p:sp>
      <p:sp>
        <p:nvSpPr>
          <p:cNvPr id="24" name="Title 3">
            <a:extLst>
              <a:ext uri="{FF2B5EF4-FFF2-40B4-BE49-F238E27FC236}">
                <a16:creationId xmlns:a16="http://schemas.microsoft.com/office/drawing/2014/main" id="{964923DB-2256-419B-A063-3239D1FC888E}"/>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a:defRPr/>
            </a:pPr>
            <a:r>
              <a:rPr lang="en-US">
                <a:solidFill>
                  <a:sysClr val="windowText" lastClr="000000"/>
                </a:solidFill>
                <a:latin typeface="+mn-lt"/>
                <a:cs typeface="Arial" panose="020B0604020202020204" pitchFamily="34" charset="0"/>
              </a:rPr>
              <a:t>Question #4</a:t>
            </a:r>
          </a:p>
        </p:txBody>
      </p:sp>
      <p:pic>
        <p:nvPicPr>
          <p:cNvPr id="26" name="Picture 25">
            <a:extLst>
              <a:ext uri="{FF2B5EF4-FFF2-40B4-BE49-F238E27FC236}">
                <a16:creationId xmlns:a16="http://schemas.microsoft.com/office/drawing/2014/main" id="{A2E44B7A-42C4-73C2-7C53-BABF50439C4F}"/>
              </a:ext>
            </a:extLst>
          </p:cNvPr>
          <p:cNvPicPr>
            <a:picLocks noChangeAspect="1"/>
          </p:cNvPicPr>
          <p:nvPr/>
        </p:nvPicPr>
        <p:blipFill rotWithShape="1">
          <a:blip r:embed="rId2">
            <a:extLst>
              <a:ext uri="{28A0092B-C50C-407E-A947-70E740481C1C}">
                <a14:useLocalDpi xmlns:a14="http://schemas.microsoft.com/office/drawing/2010/main" val="0"/>
              </a:ext>
            </a:extLst>
          </a:blip>
          <a:srcRect l="31595" r="1767"/>
          <a:stretch/>
        </p:blipFill>
        <p:spPr>
          <a:xfrm>
            <a:off x="6747834" y="1513839"/>
            <a:ext cx="3830320" cy="3830320"/>
          </a:xfrm>
          <a:prstGeom prst="ellipse">
            <a:avLst/>
          </a:prstGeom>
          <a:ln w="63500" cap="rnd">
            <a:noFill/>
          </a:ln>
          <a:effectLst>
            <a:outerShdw blurRad="381000" dist="292100" dir="5400000" sx="-80000" sy="-18000" rotWithShape="0">
              <a:srgbClr val="000000">
                <a:alpha val="22000"/>
              </a:srgbClr>
            </a:outerShdw>
          </a:effectLst>
        </p:spPr>
      </p:pic>
      <p:sp>
        <p:nvSpPr>
          <p:cNvPr id="3" name="TextBox 2">
            <a:extLst>
              <a:ext uri="{FF2B5EF4-FFF2-40B4-BE49-F238E27FC236}">
                <a16:creationId xmlns:a16="http://schemas.microsoft.com/office/drawing/2014/main" id="{5499176A-FCE7-3906-CE04-E2AD0E9EB186}"/>
              </a:ext>
            </a:extLst>
          </p:cNvPr>
          <p:cNvSpPr txBox="1"/>
          <p:nvPr/>
        </p:nvSpPr>
        <p:spPr>
          <a:xfrm>
            <a:off x="661700" y="2936556"/>
            <a:ext cx="5706049" cy="984885"/>
          </a:xfrm>
          <a:prstGeom prst="rect">
            <a:avLst/>
          </a:prstGeom>
          <a:noFill/>
        </p:spPr>
        <p:txBody>
          <a:bodyPr wrap="square" lIns="0" tIns="0" rIns="0" bIns="0" rtlCol="0" anchor="t">
            <a:spAutoFit/>
          </a:bodyPr>
          <a:lstStyle/>
          <a:p>
            <a:pPr>
              <a:defRPr/>
            </a:pPr>
            <a:r>
              <a:rPr kumimoji="0" lang="en-US" sz="3200" b="1" i="0" u="none" strike="noStrike" kern="1200" cap="none" spc="0" normalizeH="0" baseline="0" noProof="0">
                <a:ln>
                  <a:noFill/>
                </a:ln>
                <a:solidFill>
                  <a:srgbClr val="1E428A"/>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rPr>
              <a:t>What would you like to see on the R2 RESPTC website?</a:t>
            </a:r>
            <a:endParaRPr kumimoji="0" lang="en-U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A81A362D-6AAB-D306-8E29-54AA250B3A1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212775" y="584701"/>
            <a:ext cx="723182" cy="719671"/>
          </a:xfrm>
          <a:prstGeom prst="rect">
            <a:avLst/>
          </a:prstGeom>
        </p:spPr>
      </p:pic>
      <p:sp>
        <p:nvSpPr>
          <p:cNvPr id="5" name="TextBox 4">
            <a:extLst>
              <a:ext uri="{FF2B5EF4-FFF2-40B4-BE49-F238E27FC236}">
                <a16:creationId xmlns:a16="http://schemas.microsoft.com/office/drawing/2014/main" id="{1F104CD5-7A08-0C65-98CD-37DC74E4FA6F}"/>
              </a:ext>
            </a:extLst>
          </p:cNvPr>
          <p:cNvSpPr txBox="1"/>
          <p:nvPr/>
        </p:nvSpPr>
        <p:spPr>
          <a:xfrm>
            <a:off x="10885322" y="1242893"/>
            <a:ext cx="13780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can to answer</a:t>
            </a:r>
          </a:p>
        </p:txBody>
      </p:sp>
    </p:spTree>
    <p:extLst>
      <p:ext uri="{BB962C8B-B14F-4D97-AF65-F5344CB8AC3E}">
        <p14:creationId xmlns:p14="http://schemas.microsoft.com/office/powerpoint/2010/main" val="11549938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AC9B71F-294C-1CA6-9D6E-B25A820DE151}"/>
              </a:ext>
            </a:extLst>
          </p:cNvPr>
          <p:cNvSpPr>
            <a:spLocks noGrp="1"/>
          </p:cNvSpPr>
          <p:nvPr>
            <p:ph type="sldNum" sz="quarter" idx="12"/>
          </p:nvPr>
        </p:nvSpPr>
        <p:spPr/>
        <p:txBody>
          <a:bodyPr/>
          <a:lstStyle/>
          <a:p>
            <a:fld id="{77F4BF5D-8F9B-407A-AC8F-1C7206B5B534}" type="slidenum">
              <a:rPr lang="en-US" smtClean="0"/>
              <a:t>22</a:t>
            </a:fld>
            <a:endParaRPr lang="en-US"/>
          </a:p>
        </p:txBody>
      </p:sp>
      <p:pic>
        <p:nvPicPr>
          <p:cNvPr id="5" name="Picture 4" descr="A close-up of a website&#10;&#10;Description automatically generated">
            <a:extLst>
              <a:ext uri="{FF2B5EF4-FFF2-40B4-BE49-F238E27FC236}">
                <a16:creationId xmlns:a16="http://schemas.microsoft.com/office/drawing/2014/main" id="{FBABD96F-C8BD-9CFE-4E37-13AC8279CC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52524"/>
            <a:ext cx="12192000" cy="5151426"/>
          </a:xfrm>
          <a:prstGeom prst="rect">
            <a:avLst/>
          </a:prstGeom>
        </p:spPr>
      </p:pic>
      <p:sp>
        <p:nvSpPr>
          <p:cNvPr id="2" name="Title 3">
            <a:extLst>
              <a:ext uri="{FF2B5EF4-FFF2-40B4-BE49-F238E27FC236}">
                <a16:creationId xmlns:a16="http://schemas.microsoft.com/office/drawing/2014/main" id="{EC584B7A-1F70-5C42-A466-138A2304FBEE}"/>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a:defRPr/>
            </a:pPr>
            <a:r>
              <a:rPr lang="en-US">
                <a:solidFill>
                  <a:sysClr val="windowText" lastClr="000000"/>
                </a:solidFill>
                <a:latin typeface="+mn-lt"/>
                <a:cs typeface="Arial" panose="020B0604020202020204" pitchFamily="34" charset="0"/>
              </a:rPr>
              <a:t>Question #4 - Result </a:t>
            </a:r>
          </a:p>
        </p:txBody>
      </p:sp>
    </p:spTree>
    <p:extLst>
      <p:ext uri="{BB962C8B-B14F-4D97-AF65-F5344CB8AC3E}">
        <p14:creationId xmlns:p14="http://schemas.microsoft.com/office/powerpoint/2010/main" val="30802030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1E428A"/>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1C8478-7D18-41B8-9A20-A924C21316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4BF5D-8F9B-407A-AC8F-1C7206B5B53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BE128BB-F9C9-4D1E-8EF7-3A99EBCC7F36}"/>
              </a:ext>
            </a:extLst>
          </p:cNvPr>
          <p:cNvSpPr txBox="1"/>
          <p:nvPr/>
        </p:nvSpPr>
        <p:spPr>
          <a:xfrm>
            <a:off x="723014" y="3749979"/>
            <a:ext cx="10217888"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800" b="1">
                <a:solidFill>
                  <a:prstClr val="white"/>
                </a:solidFill>
                <a:latin typeface="Arial" panose="020B0604020202020204" pitchFamily="34" charset="0"/>
                <a:cs typeface="Arial" panose="020B0604020202020204" pitchFamily="34" charset="0"/>
              </a:rPr>
              <a:t>The Region 2 RESPTC Website Live Demo</a:t>
            </a:r>
            <a:endPar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300963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1E428A"/>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1C8478-7D18-41B8-9A20-A924C21316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4BF5D-8F9B-407A-AC8F-1C7206B5B53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BE128BB-F9C9-4D1E-8EF7-3A99EBCC7F36}"/>
              </a:ext>
            </a:extLst>
          </p:cNvPr>
          <p:cNvSpPr txBox="1"/>
          <p:nvPr/>
        </p:nvSpPr>
        <p:spPr>
          <a:xfrm>
            <a:off x="723014" y="3749979"/>
            <a:ext cx="10217888"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HS Region 2 High-Consequence Infectious Disease Patient Transport Concept of Operations</a:t>
            </a:r>
          </a:p>
        </p:txBody>
      </p:sp>
    </p:spTree>
    <p:extLst>
      <p:ext uri="{BB962C8B-B14F-4D97-AF65-F5344CB8AC3E}">
        <p14:creationId xmlns:p14="http://schemas.microsoft.com/office/powerpoint/2010/main" val="719241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AC464E0-666C-2EC6-3252-937FACD0CF34}"/>
              </a:ext>
            </a:extLst>
          </p:cNvPr>
          <p:cNvSpPr/>
          <p:nvPr/>
        </p:nvSpPr>
        <p:spPr>
          <a:xfrm>
            <a:off x="-73890" y="1198881"/>
            <a:ext cx="12265890" cy="1045556"/>
          </a:xfrm>
          <a:prstGeom prst="rect">
            <a:avLst/>
          </a:prstGeom>
          <a:solidFill>
            <a:srgbClr val="FFFFFF">
              <a:alpha val="61176"/>
            </a:srgbClr>
          </a:solidFill>
          <a:ln w="28575"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A Concept of Operations (CONOPs) “presents a clear picture of the sequence and scop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of the </a:t>
            </a:r>
            <a:r>
              <a:rPr kumimoji="0" lang="en-US" sz="2000" b="1"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planned emergency response</a:t>
            </a:r>
            <a:r>
              <a:rPr kumimoji="0" lang="en-US" sz="20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 what should happen, when, and at whose direction” (FEMA)</a:t>
            </a:r>
          </a:p>
        </p:txBody>
      </p:sp>
      <p:sp>
        <p:nvSpPr>
          <p:cNvPr id="15" name="Rectangle 14">
            <a:extLst>
              <a:ext uri="{FF2B5EF4-FFF2-40B4-BE49-F238E27FC236}">
                <a16:creationId xmlns:a16="http://schemas.microsoft.com/office/drawing/2014/main" id="{607D71AD-B1B9-A4F3-4CE7-4C33029C03D9}"/>
              </a:ext>
            </a:extLst>
          </p:cNvPr>
          <p:cNvSpPr/>
          <p:nvPr/>
        </p:nvSpPr>
        <p:spPr bwMode="gray">
          <a:xfrm>
            <a:off x="7583541" y="2664086"/>
            <a:ext cx="3077529" cy="3668220"/>
          </a:xfrm>
          <a:prstGeom prst="rect">
            <a:avLst/>
          </a:prstGeom>
          <a:solidFill>
            <a:srgbClr val="A9D7D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72720B30-E1E1-97DB-7864-34C6AF542EAF}"/>
              </a:ext>
            </a:extLst>
          </p:cNvPr>
          <p:cNvSpPr txBox="1"/>
          <p:nvPr/>
        </p:nvSpPr>
        <p:spPr>
          <a:xfrm>
            <a:off x="398283" y="2534021"/>
            <a:ext cx="6150988" cy="3515578"/>
          </a:xfrm>
          <a:prstGeom prst="rect">
            <a:avLst/>
          </a:prstGeom>
          <a:noFill/>
        </p:spPr>
        <p:txBody>
          <a:bodyPr wrap="square">
            <a:spAutoFit/>
          </a:bodyPr>
          <a:lstStyle/>
          <a:p>
            <a:pPr marL="0" marR="0">
              <a:lnSpc>
                <a:spcPct val="115000"/>
              </a:lnSpc>
              <a:spcBef>
                <a:spcPts val="0"/>
              </a:spcBef>
              <a:spcAft>
                <a:spcPts val="100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The HHS Region 2 Concept of Operations for High-Risk  Patients Under Investigation (PUI) and Patients Confirmed with High-Consequence Infectious Diseases (“HCID Patient Transport ConOps”) </a:t>
            </a:r>
          </a:p>
          <a:p>
            <a:pPr marL="285750" marR="0" indent="-285750">
              <a:lnSpc>
                <a:spcPct val="115000"/>
              </a:lnSpc>
              <a:spcBef>
                <a:spcPts val="0"/>
              </a:spcBef>
              <a:spcAft>
                <a:spcPts val="1000"/>
              </a:spcAft>
              <a:buFont typeface="Wingdings" panose="05000000000000000000" pitchFamily="2" charset="2"/>
              <a:buChar char="ü"/>
            </a:pPr>
            <a:r>
              <a:rPr lang="en-US">
                <a:latin typeface="Calibri" panose="020F0502020204030204" pitchFamily="34" charset="0"/>
                <a:ea typeface="Times New Roman" panose="02020603050405020304" pitchFamily="18" charset="0"/>
                <a:cs typeface="Calibri" panose="020F0502020204030204" pitchFamily="34" charset="0"/>
              </a:rPr>
              <a:t>O</a:t>
            </a:r>
            <a:r>
              <a:rPr lang="en-US" sz="1800">
                <a:effectLst/>
                <a:latin typeface="Calibri" panose="020F0502020204030204" pitchFamily="34" charset="0"/>
                <a:ea typeface="Times New Roman" panose="02020603050405020304" pitchFamily="18" charset="0"/>
                <a:cs typeface="Calibri" panose="020F0502020204030204" pitchFamily="34" charset="0"/>
              </a:rPr>
              <a:t>utlines an HHS Region 2 concept of operations  for safely transporting a HCID patient to NYC Health + Hospitals/Bellevue, the Region 2 RESPTC, or another equipped facility</a:t>
            </a:r>
            <a:endParaRPr lang="en-US">
              <a:latin typeface="Calibri" panose="020F0502020204030204" pitchFamily="34" charset="0"/>
              <a:ea typeface="Times New Roman" panose="02020603050405020304" pitchFamily="18" charset="0"/>
              <a:cs typeface="Calibri" panose="020F0502020204030204" pitchFamily="34" charset="0"/>
            </a:endParaRPr>
          </a:p>
          <a:p>
            <a:pPr marL="285750" marR="0" indent="-285750">
              <a:lnSpc>
                <a:spcPct val="115000"/>
              </a:lnSpc>
              <a:spcBef>
                <a:spcPts val="0"/>
              </a:spcBef>
              <a:spcAft>
                <a:spcPts val="1000"/>
              </a:spcAft>
              <a:buFont typeface="Wingdings" panose="05000000000000000000" pitchFamily="2" charset="2"/>
              <a:buChar char="ü"/>
            </a:pPr>
            <a:r>
              <a:rPr lang="en-US">
                <a:latin typeface="Calibri" panose="020F0502020204030204" pitchFamily="34" charset="0"/>
                <a:ea typeface="Calibri" panose="020F0502020204030204" pitchFamily="34" charset="0"/>
                <a:cs typeface="Calibri" panose="020F0502020204030204" pitchFamily="34" charset="0"/>
              </a:rPr>
              <a:t>D</a:t>
            </a:r>
            <a:r>
              <a:rPr lang="en-US" sz="1800">
                <a:effectLst/>
                <a:latin typeface="Calibri" panose="020F0502020204030204" pitchFamily="34" charset="0"/>
                <a:ea typeface="Calibri" panose="020F0502020204030204" pitchFamily="34" charset="0"/>
                <a:cs typeface="Calibri" panose="020F0502020204030204" pitchFamily="34" charset="0"/>
              </a:rPr>
              <a:t>etails cross-jurisdictional considerations and is intended to supplement jurisdiction-specific plans</a:t>
            </a:r>
            <a:endParaRPr lang="en-US" sz="1600">
              <a:effectLst/>
              <a:latin typeface="Calibri" panose="020F0502020204030204" pitchFamily="34" charset="0"/>
              <a:ea typeface="Calibri" panose="020F0502020204030204" pitchFamily="34" charset="0"/>
              <a:cs typeface="Calibri" panose="020F0502020204030204" pitchFamily="34" charset="0"/>
            </a:endParaRPr>
          </a:p>
        </p:txBody>
      </p:sp>
      <p:sp>
        <p:nvSpPr>
          <p:cNvPr id="2" name="Title 3">
            <a:extLst>
              <a:ext uri="{FF2B5EF4-FFF2-40B4-BE49-F238E27FC236}">
                <a16:creationId xmlns:a16="http://schemas.microsoft.com/office/drawing/2014/main" id="{48438A02-1691-FEE4-3797-F20FA2519BA3}"/>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The Region 2 HCID Patient Transport Concept of Operations (CONOPs)</a:t>
            </a:r>
          </a:p>
        </p:txBody>
      </p:sp>
      <p:pic>
        <p:nvPicPr>
          <p:cNvPr id="5" name="Picture 4">
            <a:extLst>
              <a:ext uri="{FF2B5EF4-FFF2-40B4-BE49-F238E27FC236}">
                <a16:creationId xmlns:a16="http://schemas.microsoft.com/office/drawing/2014/main" id="{F338B23F-A638-50C7-8B7E-A57DFF56E7C3}"/>
              </a:ext>
            </a:extLst>
          </p:cNvPr>
          <p:cNvPicPr>
            <a:picLocks noChangeAspect="1"/>
          </p:cNvPicPr>
          <p:nvPr/>
        </p:nvPicPr>
        <p:blipFill>
          <a:blip r:embed="rId3"/>
          <a:stretch>
            <a:fillRect/>
          </a:stretch>
        </p:blipFill>
        <p:spPr>
          <a:xfrm>
            <a:off x="7260268" y="2457700"/>
            <a:ext cx="3122782" cy="3668220"/>
          </a:xfrm>
          <a:prstGeom prst="rect">
            <a:avLst/>
          </a:prstGeom>
          <a:ln>
            <a:solidFill>
              <a:schemeClr val="tx1"/>
            </a:solidFill>
          </a:ln>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A0EDC14-14B9-7416-FCB8-D16F5780C6EB}"/>
              </a:ext>
            </a:extLst>
          </p:cNvPr>
          <p:cNvSpPr txBox="1"/>
          <p:nvPr/>
        </p:nvSpPr>
        <p:spPr>
          <a:xfrm>
            <a:off x="499872" y="621793"/>
            <a:ext cx="10194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The Region 2 RESPTC is in the process of updating the CONOPs and will share the final document with partners in the coming months</a:t>
            </a:r>
          </a:p>
        </p:txBody>
      </p:sp>
    </p:spTree>
    <p:extLst>
      <p:ext uri="{BB962C8B-B14F-4D97-AF65-F5344CB8AC3E}">
        <p14:creationId xmlns:p14="http://schemas.microsoft.com/office/powerpoint/2010/main" val="31979030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A0941BD4-99FE-0569-A6CA-F20D1948568F}"/>
              </a:ext>
            </a:extLst>
          </p:cNvPr>
          <p:cNvSpPr/>
          <p:nvPr/>
        </p:nvSpPr>
        <p:spPr>
          <a:xfrm>
            <a:off x="4494471" y="1610416"/>
            <a:ext cx="7507426" cy="2468880"/>
          </a:xfrm>
          <a:prstGeom prst="rect">
            <a:avLst/>
          </a:prstGeom>
          <a:solidFill>
            <a:srgbClr val="FFFFFF">
              <a:lumMod val="95000"/>
            </a:srgbClr>
          </a:solidFill>
          <a:ln w="25400" cap="flat">
            <a:noFill/>
            <a:prstDash val="solid"/>
            <a:round/>
          </a:ln>
          <a:effectLst/>
          <a:sp3d/>
        </p:spPr>
        <p:txBody>
          <a:bodyPr rot="0" spcFirstLastPara="1" vertOverflow="overflow" horzOverflow="overflow" vert="horz" wrap="square" lIns="0" tIns="0" rIns="0" bIns="0" numCol="1" spcCol="38100" rtlCol="0" anchor="ctr">
            <a:sp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sp>
        <p:nvSpPr>
          <p:cNvPr id="78" name="Arrow: Pentagon 77">
            <a:extLst>
              <a:ext uri="{FF2B5EF4-FFF2-40B4-BE49-F238E27FC236}">
                <a16:creationId xmlns:a16="http://schemas.microsoft.com/office/drawing/2014/main" id="{649A75AB-CA35-1007-ACCF-C1C3882BE010}"/>
              </a:ext>
            </a:extLst>
          </p:cNvPr>
          <p:cNvSpPr/>
          <p:nvPr/>
        </p:nvSpPr>
        <p:spPr>
          <a:xfrm>
            <a:off x="405386" y="1216770"/>
            <a:ext cx="3657600" cy="304530"/>
          </a:xfrm>
          <a:prstGeom prst="homePlate">
            <a:avLst/>
          </a:prstGeom>
          <a:solidFill>
            <a:srgbClr val="00AAE7"/>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3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NITIAL NOTIFICATION</a:t>
            </a:r>
          </a:p>
        </p:txBody>
      </p:sp>
      <p:sp>
        <p:nvSpPr>
          <p:cNvPr id="79" name="Arrow: Chevron 78">
            <a:extLst>
              <a:ext uri="{FF2B5EF4-FFF2-40B4-BE49-F238E27FC236}">
                <a16:creationId xmlns:a16="http://schemas.microsoft.com/office/drawing/2014/main" id="{43961CF6-9C96-F93F-C3BE-3B5D6BCB27BE}"/>
              </a:ext>
            </a:extLst>
          </p:cNvPr>
          <p:cNvSpPr/>
          <p:nvPr/>
        </p:nvSpPr>
        <p:spPr>
          <a:xfrm>
            <a:off x="4076520" y="1216770"/>
            <a:ext cx="4114800" cy="304530"/>
          </a:xfrm>
          <a:prstGeom prst="chevron">
            <a:avLst/>
          </a:prstGeom>
          <a:solidFill>
            <a:srgbClr val="4596CB"/>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3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RRANGING TRANSPORT</a:t>
            </a:r>
          </a:p>
        </p:txBody>
      </p:sp>
      <p:sp>
        <p:nvSpPr>
          <p:cNvPr id="80" name="Text Placeholder 2">
            <a:extLst>
              <a:ext uri="{FF2B5EF4-FFF2-40B4-BE49-F238E27FC236}">
                <a16:creationId xmlns:a16="http://schemas.microsoft.com/office/drawing/2014/main" id="{85E200EB-A684-F053-567D-ADD3089D3ACC}"/>
              </a:ext>
            </a:extLst>
          </p:cNvPr>
          <p:cNvSpPr txBox="1">
            <a:spLocks/>
          </p:cNvSpPr>
          <p:nvPr/>
        </p:nvSpPr>
        <p:spPr>
          <a:xfrm>
            <a:off x="1253548" y="4708108"/>
            <a:ext cx="2463895" cy="1050173"/>
          </a:xfrm>
          <a:prstGeom prst="rect">
            <a:avLst/>
          </a:prstGeom>
          <a:noFill/>
        </p:spPr>
        <p:txBody>
          <a:bodyPr vert="horz" lIns="0" tIns="0" rIns="9144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Partners approve transfer</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NYCDOHMH and Bellevue approve the transfer request. A clinical call coordinates relevant parties to arrange details and ensure the transfer is appropriate. </a:t>
            </a:r>
          </a:p>
        </p:txBody>
      </p:sp>
      <p:sp>
        <p:nvSpPr>
          <p:cNvPr id="81" name="Text Placeholder 2">
            <a:extLst>
              <a:ext uri="{FF2B5EF4-FFF2-40B4-BE49-F238E27FC236}">
                <a16:creationId xmlns:a16="http://schemas.microsoft.com/office/drawing/2014/main" id="{FA7428CC-4FE9-3D58-9BBD-058C7C4396E6}"/>
              </a:ext>
            </a:extLst>
          </p:cNvPr>
          <p:cNvSpPr txBox="1">
            <a:spLocks/>
          </p:cNvSpPr>
          <p:nvPr/>
        </p:nvSpPr>
        <p:spPr>
          <a:xfrm>
            <a:off x="1266487" y="1776687"/>
            <a:ext cx="2389532"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Patient presents symptoms</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 patient presents at a facility as a high-risk PUI of a high-consequence infectious disease. If applicable, samples are sent to the lab.</a:t>
            </a:r>
          </a:p>
        </p:txBody>
      </p:sp>
      <p:cxnSp>
        <p:nvCxnSpPr>
          <p:cNvPr id="82" name="Straight Arrow Connector 81">
            <a:extLst>
              <a:ext uri="{FF2B5EF4-FFF2-40B4-BE49-F238E27FC236}">
                <a16:creationId xmlns:a16="http://schemas.microsoft.com/office/drawing/2014/main" id="{0C8E9BB9-FB56-7BC6-D126-77EAD4B3D4EC}"/>
              </a:ext>
            </a:extLst>
          </p:cNvPr>
          <p:cNvCxnSpPr>
            <a:cxnSpLocks/>
          </p:cNvCxnSpPr>
          <p:nvPr/>
        </p:nvCxnSpPr>
        <p:spPr bwMode="auto">
          <a:xfrm>
            <a:off x="2598552" y="2691248"/>
            <a:ext cx="2626" cy="463738"/>
          </a:xfrm>
          <a:prstGeom prst="straightConnector1">
            <a:avLst/>
          </a:prstGeom>
          <a:noFill/>
          <a:ln w="19050" cap="flat" cmpd="sng" algn="ctr">
            <a:solidFill>
              <a:srgbClr val="FFFFFF">
                <a:lumMod val="65000"/>
              </a:srgbClr>
            </a:solidFill>
            <a:prstDash val="sysDash"/>
            <a:round/>
            <a:headEnd type="none" w="med" len="med"/>
            <a:tailEnd type="triangle"/>
          </a:ln>
          <a:effectLst/>
        </p:spPr>
      </p:cxnSp>
      <p:sp>
        <p:nvSpPr>
          <p:cNvPr id="83" name="Arrow: Chevron 82">
            <a:extLst>
              <a:ext uri="{FF2B5EF4-FFF2-40B4-BE49-F238E27FC236}">
                <a16:creationId xmlns:a16="http://schemas.microsoft.com/office/drawing/2014/main" id="{52DE791E-1BB8-A7DA-323F-6A42A0EF3432}"/>
              </a:ext>
            </a:extLst>
          </p:cNvPr>
          <p:cNvSpPr/>
          <p:nvPr/>
        </p:nvSpPr>
        <p:spPr>
          <a:xfrm>
            <a:off x="8204855" y="1216770"/>
            <a:ext cx="3797041" cy="304530"/>
          </a:xfrm>
          <a:prstGeom prst="chevron">
            <a:avLst/>
          </a:prstGeom>
          <a:solidFill>
            <a:srgbClr val="A9D7DC"/>
          </a:solidFill>
          <a:ln w="9525" cap="flat" cmpd="sng" algn="ctr">
            <a:solidFill>
              <a:srgbClr val="98D5E8"/>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300" normalizeH="0" baseline="0" noProof="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FINAL TRANSFER</a:t>
            </a:r>
          </a:p>
        </p:txBody>
      </p:sp>
      <p:sp>
        <p:nvSpPr>
          <p:cNvPr id="84" name="Text Placeholder 2">
            <a:extLst>
              <a:ext uri="{FF2B5EF4-FFF2-40B4-BE49-F238E27FC236}">
                <a16:creationId xmlns:a16="http://schemas.microsoft.com/office/drawing/2014/main" id="{E08303A7-1B8F-7F1A-0885-CA94547D9933}"/>
              </a:ext>
            </a:extLst>
          </p:cNvPr>
          <p:cNvSpPr txBox="1">
            <a:spLocks/>
          </p:cNvSpPr>
          <p:nvPr/>
        </p:nvSpPr>
        <p:spPr>
          <a:xfrm>
            <a:off x="542512" y="3121010"/>
            <a:ext cx="1598261"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Facility requests transfer</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The facility’s capacity or capability is exceeded.</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The facility coordinates with their department of health (DOH) to request a transfer to Bellevue. </a:t>
            </a:r>
          </a:p>
        </p:txBody>
      </p:sp>
      <p:sp>
        <p:nvSpPr>
          <p:cNvPr id="85" name="Rectangle 84">
            <a:extLst>
              <a:ext uri="{FF2B5EF4-FFF2-40B4-BE49-F238E27FC236}">
                <a16:creationId xmlns:a16="http://schemas.microsoft.com/office/drawing/2014/main" id="{0CA1C63F-13DE-AA04-8A0A-DD86EE8D9648}"/>
              </a:ext>
            </a:extLst>
          </p:cNvPr>
          <p:cNvSpPr/>
          <p:nvPr/>
        </p:nvSpPr>
        <p:spPr>
          <a:xfrm>
            <a:off x="4494470" y="4208580"/>
            <a:ext cx="7501224" cy="2103120"/>
          </a:xfrm>
          <a:prstGeom prst="rect">
            <a:avLst/>
          </a:prstGeom>
          <a:solidFill>
            <a:srgbClr val="FFFFFF">
              <a:lumMod val="95000"/>
            </a:srgbClr>
          </a:solidFill>
          <a:ln w="25400" cap="flat">
            <a:noFill/>
            <a:prstDash val="solid"/>
            <a:round/>
          </a:ln>
          <a:effectLst/>
          <a:sp3d/>
        </p:spPr>
        <p:txBody>
          <a:bodyPr rot="0" spcFirstLastPara="1" vertOverflow="overflow" horzOverflow="overflow" vert="horz" wrap="square" lIns="0" tIns="0" rIns="0" bIns="0" numCol="1" spcCol="38100" rtlCol="0" anchor="ctr">
            <a:sp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cxnSp>
        <p:nvCxnSpPr>
          <p:cNvPr id="86" name="Straight Arrow Connector 85">
            <a:extLst>
              <a:ext uri="{FF2B5EF4-FFF2-40B4-BE49-F238E27FC236}">
                <a16:creationId xmlns:a16="http://schemas.microsoft.com/office/drawing/2014/main" id="{B684F088-C124-C1DA-A875-8F2BC30D78DF}"/>
              </a:ext>
            </a:extLst>
          </p:cNvPr>
          <p:cNvCxnSpPr>
            <a:cxnSpLocks/>
          </p:cNvCxnSpPr>
          <p:nvPr/>
        </p:nvCxnSpPr>
        <p:spPr bwMode="auto">
          <a:xfrm>
            <a:off x="2599865" y="4020265"/>
            <a:ext cx="0" cy="687843"/>
          </a:xfrm>
          <a:prstGeom prst="straightConnector1">
            <a:avLst/>
          </a:prstGeom>
          <a:noFill/>
          <a:ln w="19050" cap="flat" cmpd="sng" algn="ctr">
            <a:solidFill>
              <a:srgbClr val="FFFFFF">
                <a:lumMod val="65000"/>
              </a:srgbClr>
            </a:solidFill>
            <a:prstDash val="sysDash"/>
            <a:round/>
            <a:headEnd type="none" w="med" len="med"/>
            <a:tailEnd type="triangle"/>
          </a:ln>
          <a:effectLst/>
        </p:spPr>
      </p:cxnSp>
      <p:cxnSp>
        <p:nvCxnSpPr>
          <p:cNvPr id="87" name="Connector: Elbow 86">
            <a:extLst>
              <a:ext uri="{FF2B5EF4-FFF2-40B4-BE49-F238E27FC236}">
                <a16:creationId xmlns:a16="http://schemas.microsoft.com/office/drawing/2014/main" id="{DD5F124D-92C1-285C-DE52-D60A07DC7AF5}"/>
              </a:ext>
            </a:extLst>
          </p:cNvPr>
          <p:cNvCxnSpPr>
            <a:cxnSpLocks/>
          </p:cNvCxnSpPr>
          <p:nvPr/>
        </p:nvCxnSpPr>
        <p:spPr bwMode="auto">
          <a:xfrm rot="5400000" flipH="1" flipV="1">
            <a:off x="2863912" y="4420077"/>
            <a:ext cx="1592554" cy="70609"/>
          </a:xfrm>
          <a:prstGeom prst="bentConnector3">
            <a:avLst>
              <a:gd name="adj1" fmla="val 122"/>
            </a:avLst>
          </a:prstGeom>
          <a:noFill/>
          <a:ln w="19050" cap="flat" cmpd="sng" algn="ctr">
            <a:solidFill>
              <a:srgbClr val="FFFFFF">
                <a:lumMod val="65000"/>
              </a:srgbClr>
            </a:solidFill>
            <a:prstDash val="sysDash"/>
            <a:round/>
            <a:headEnd type="none" w="med" len="med"/>
            <a:tailEnd type="triangle"/>
          </a:ln>
          <a:effectLst/>
        </p:spPr>
      </p:cxnSp>
      <p:sp>
        <p:nvSpPr>
          <p:cNvPr id="88" name="Text Placeholder 2">
            <a:extLst>
              <a:ext uri="{FF2B5EF4-FFF2-40B4-BE49-F238E27FC236}">
                <a16:creationId xmlns:a16="http://schemas.microsoft.com/office/drawing/2014/main" id="{A962F6CB-1499-3AD3-EE4D-AC3DD63BDA2C}"/>
              </a:ext>
            </a:extLst>
          </p:cNvPr>
          <p:cNvSpPr txBox="1">
            <a:spLocks/>
          </p:cNvSpPr>
          <p:nvPr/>
        </p:nvSpPr>
        <p:spPr>
          <a:xfrm>
            <a:off x="3456249" y="3000293"/>
            <a:ext cx="1214355" cy="614349"/>
          </a:xfrm>
          <a:prstGeom prst="rect">
            <a:avLst/>
          </a:prstGeom>
          <a:solidFill>
            <a:srgbClr val="4472C4">
              <a:lumMod val="20000"/>
              <a:lumOff val="80000"/>
            </a:srgbClr>
          </a:solidFill>
          <a:ln w="19050">
            <a:solidFill>
              <a:srgbClr val="A7A7A7"/>
            </a:solidFill>
            <a:prstDash val="sysDash"/>
          </a:ln>
        </p:spPr>
        <p:txBody>
          <a:bodyPr vert="horz" lIns="0" tIns="0" rIns="0" bIns="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0"/>
              </a:spcAft>
              <a:buClr>
                <a:srgbClr val="4472C4"/>
              </a:buClr>
              <a:buSzPct val="75000"/>
              <a:buFont typeface="Arial" panose="020B0604020202020204" pitchFamily="34" charset="0"/>
              <a:buNone/>
              <a:tabLst/>
              <a:defRPr/>
            </a:pPr>
            <a:r>
              <a:rPr kumimoji="0" lang="en-US" sz="1200" b="1"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S THE PATIENT WITHIN A TWO HOUR DRIVE?</a:t>
            </a:r>
            <a:endParaRPr kumimoji="0" lang="en-US" sz="1000" b="0"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89" name="Connector: Elbow 88">
            <a:extLst>
              <a:ext uri="{FF2B5EF4-FFF2-40B4-BE49-F238E27FC236}">
                <a16:creationId xmlns:a16="http://schemas.microsoft.com/office/drawing/2014/main" id="{CBC5515E-60D2-BD24-5420-195A7F564236}"/>
              </a:ext>
            </a:extLst>
          </p:cNvPr>
          <p:cNvCxnSpPr>
            <a:cxnSpLocks/>
          </p:cNvCxnSpPr>
          <p:nvPr/>
        </p:nvCxnSpPr>
        <p:spPr bwMode="auto">
          <a:xfrm rot="5400000" flipH="1" flipV="1">
            <a:off x="3685761" y="2293335"/>
            <a:ext cx="1304898" cy="127851"/>
          </a:xfrm>
          <a:prstGeom prst="bentConnector2">
            <a:avLst/>
          </a:prstGeom>
          <a:noFill/>
          <a:ln w="19050" cap="flat" cmpd="sng" algn="ctr">
            <a:solidFill>
              <a:srgbClr val="FFFFFF">
                <a:lumMod val="65000"/>
              </a:srgbClr>
            </a:solidFill>
            <a:prstDash val="sysDash"/>
            <a:round/>
            <a:headEnd type="none" w="med" len="med"/>
            <a:tailEnd type="triangle"/>
          </a:ln>
          <a:effectLst/>
        </p:spPr>
      </p:cxnSp>
      <p:cxnSp>
        <p:nvCxnSpPr>
          <p:cNvPr id="90" name="Connector: Elbow 89">
            <a:extLst>
              <a:ext uri="{FF2B5EF4-FFF2-40B4-BE49-F238E27FC236}">
                <a16:creationId xmlns:a16="http://schemas.microsoft.com/office/drawing/2014/main" id="{2FBA312D-92BA-A650-699A-F4DAB5ED5ACD}"/>
              </a:ext>
            </a:extLst>
          </p:cNvPr>
          <p:cNvCxnSpPr>
            <a:cxnSpLocks/>
          </p:cNvCxnSpPr>
          <p:nvPr/>
        </p:nvCxnSpPr>
        <p:spPr bwMode="auto">
          <a:xfrm rot="16200000" flipH="1">
            <a:off x="3873569" y="3732306"/>
            <a:ext cx="652784" cy="485218"/>
          </a:xfrm>
          <a:prstGeom prst="bentConnector3">
            <a:avLst>
              <a:gd name="adj1" fmla="val 100937"/>
            </a:avLst>
          </a:prstGeom>
          <a:noFill/>
          <a:ln w="19050" cap="flat" cmpd="sng" algn="ctr">
            <a:solidFill>
              <a:srgbClr val="FFFFFF">
                <a:lumMod val="65000"/>
              </a:srgbClr>
            </a:solidFill>
            <a:prstDash val="sysDash"/>
            <a:round/>
            <a:headEnd type="none" w="med" len="med"/>
            <a:tailEnd type="triangle"/>
          </a:ln>
          <a:effectLst/>
        </p:spPr>
      </p:cxnSp>
      <p:sp>
        <p:nvSpPr>
          <p:cNvPr id="91" name="Rectangle 90">
            <a:extLst>
              <a:ext uri="{FF2B5EF4-FFF2-40B4-BE49-F238E27FC236}">
                <a16:creationId xmlns:a16="http://schemas.microsoft.com/office/drawing/2014/main" id="{4968FCE1-0813-BD08-A98F-FDC5DEAFC943}"/>
              </a:ext>
            </a:extLst>
          </p:cNvPr>
          <p:cNvSpPr/>
          <p:nvPr/>
        </p:nvSpPr>
        <p:spPr>
          <a:xfrm>
            <a:off x="4494471" y="1613972"/>
            <a:ext cx="3536184" cy="200587"/>
          </a:xfrm>
          <a:prstGeom prst="rect">
            <a:avLst/>
          </a:prstGeom>
          <a:solidFill>
            <a:srgbClr val="A7A7A7"/>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GROUND TRANSPORT</a:t>
            </a:r>
          </a:p>
        </p:txBody>
      </p:sp>
      <p:sp>
        <p:nvSpPr>
          <p:cNvPr id="92" name="Rectangle 91">
            <a:extLst>
              <a:ext uri="{FF2B5EF4-FFF2-40B4-BE49-F238E27FC236}">
                <a16:creationId xmlns:a16="http://schemas.microsoft.com/office/drawing/2014/main" id="{522E5508-54B9-F8D3-A134-9EEE253EE998}"/>
              </a:ext>
            </a:extLst>
          </p:cNvPr>
          <p:cNvSpPr/>
          <p:nvPr/>
        </p:nvSpPr>
        <p:spPr>
          <a:xfrm>
            <a:off x="4494471" y="4201014"/>
            <a:ext cx="3536184" cy="200587"/>
          </a:xfrm>
          <a:prstGeom prst="rect">
            <a:avLst/>
          </a:prstGeom>
          <a:solidFill>
            <a:srgbClr val="A7A7A7"/>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1" i="0" u="none" strike="noStrike" kern="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AIR TRANSPORT</a:t>
            </a:r>
          </a:p>
        </p:txBody>
      </p:sp>
      <p:sp>
        <p:nvSpPr>
          <p:cNvPr id="93" name="Text Placeholder 2">
            <a:extLst>
              <a:ext uri="{FF2B5EF4-FFF2-40B4-BE49-F238E27FC236}">
                <a16:creationId xmlns:a16="http://schemas.microsoft.com/office/drawing/2014/main" id="{5AEDD8BB-390E-3472-44DE-B811071299D0}"/>
              </a:ext>
            </a:extLst>
          </p:cNvPr>
          <p:cNvSpPr txBox="1">
            <a:spLocks/>
          </p:cNvSpPr>
          <p:nvPr/>
        </p:nvSpPr>
        <p:spPr>
          <a:xfrm>
            <a:off x="4793229" y="1883783"/>
            <a:ext cx="2893734" cy="1310014"/>
          </a:xfrm>
          <a:prstGeom prst="rect">
            <a:avLst/>
          </a:prstGeom>
          <a:solidFill>
            <a:srgbClr val="4472C4">
              <a:lumMod val="20000"/>
              <a:lumOff val="80000"/>
            </a:srgbClr>
          </a:solidFill>
          <a:ln w="19050">
            <a:solidFill>
              <a:srgbClr val="A7A7A7"/>
            </a:solidFill>
            <a:prstDash val="sysDash"/>
          </a:ln>
        </p:spPr>
        <p:txBody>
          <a:bodyPr vert="horz" lIns="91440" tIns="91440" rIns="91440" bIns="91440" rtlCol="0" anchor="ctr">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
                <a:srgbClr val="4472C4"/>
              </a:buClr>
              <a:buSzPct val="75000"/>
              <a:buFont typeface="Arial" panose="020B0604020202020204" pitchFamily="34" charset="0"/>
              <a:buNone/>
              <a:tabLst/>
              <a:defRPr/>
            </a:pPr>
            <a:r>
              <a:rPr kumimoji="0" lang="en-US" sz="1200" b="1"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IS THE PATIENT IN NEW YORK CITY </a:t>
            </a:r>
            <a:r>
              <a:rPr kumimoji="0" lang="en-US" sz="1200" b="1" i="0" u="sng"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OR</a:t>
            </a:r>
            <a:r>
              <a:rPr kumimoji="0" lang="en-US" sz="1200" b="1" i="0" u="none" strike="noStrike" kern="120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 AT ONE OF THE FOLLOWING FACILITIES?*</a:t>
            </a:r>
          </a:p>
          <a:p>
            <a:pPr marL="171450" marR="0" lvl="0" indent="-171450" algn="l" defTabSz="914400" rtl="0" eaLnBrk="1" fontAlgn="auto" latinLnBrk="0" hangingPunct="1">
              <a:lnSpc>
                <a:spcPct val="100000"/>
              </a:lnSpc>
              <a:spcBef>
                <a:spcPts val="400"/>
              </a:spcBef>
              <a:spcAft>
                <a:spcPts val="0"/>
              </a:spcAft>
              <a:buClr>
                <a:srgbClr val="4472C4"/>
              </a:buClr>
              <a:buSzPct val="75000"/>
              <a:buFont typeface="Arial" panose="020B0604020202020204" pitchFamily="34" charset="0"/>
              <a:buChar char="•"/>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Robert Wood Johnson University Hospital</a:t>
            </a:r>
          </a:p>
          <a:p>
            <a:pPr marL="171450" marR="0" lvl="0" indent="-171450" algn="l" defTabSz="914400" rtl="0" eaLnBrk="1" fontAlgn="auto" latinLnBrk="0" hangingPunct="1">
              <a:lnSpc>
                <a:spcPct val="100000"/>
              </a:lnSpc>
              <a:spcBef>
                <a:spcPts val="400"/>
              </a:spcBef>
              <a:spcAft>
                <a:spcPts val="0"/>
              </a:spcAft>
              <a:buClr>
                <a:srgbClr val="4472C4"/>
              </a:buClr>
              <a:buSzPct val="75000"/>
              <a:buFont typeface="Arial" panose="020B0604020202020204" pitchFamily="34" charset="0"/>
              <a:buChar char="•"/>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Northwell Health | Glen Cove Hospital</a:t>
            </a:r>
          </a:p>
          <a:p>
            <a:pPr marL="171450" marR="0" lvl="0" indent="-171450" algn="l" defTabSz="914400" rtl="0" eaLnBrk="1" fontAlgn="auto" latinLnBrk="0" hangingPunct="1">
              <a:lnSpc>
                <a:spcPct val="100000"/>
              </a:lnSpc>
              <a:spcBef>
                <a:spcPts val="400"/>
              </a:spcBef>
              <a:spcAft>
                <a:spcPts val="0"/>
              </a:spcAft>
              <a:buClr>
                <a:srgbClr val="4472C4"/>
              </a:buClr>
              <a:buSzPct val="75000"/>
              <a:buFont typeface="Arial" panose="020B0604020202020204" pitchFamily="34" charset="0"/>
              <a:buChar char="•"/>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Stony Brook University Hospital </a:t>
            </a:r>
          </a:p>
        </p:txBody>
      </p:sp>
      <p:sp>
        <p:nvSpPr>
          <p:cNvPr id="94" name="TextBox 93">
            <a:extLst>
              <a:ext uri="{FF2B5EF4-FFF2-40B4-BE49-F238E27FC236}">
                <a16:creationId xmlns:a16="http://schemas.microsoft.com/office/drawing/2014/main" id="{A3FAC0E8-8272-7125-38B5-A3FFAE1DDBA4}"/>
              </a:ext>
            </a:extLst>
          </p:cNvPr>
          <p:cNvSpPr txBox="1"/>
          <p:nvPr/>
        </p:nvSpPr>
        <p:spPr>
          <a:xfrm>
            <a:off x="3966031" y="3551295"/>
            <a:ext cx="65" cy="276999"/>
          </a:xfrm>
          <a:prstGeom prst="rect">
            <a:avLst/>
          </a:prstGeom>
          <a:noFill/>
          <a:ln w="12700" cap="flat">
            <a:noFill/>
            <a:miter lim="400000"/>
          </a:ln>
          <a:effectLst/>
          <a:sp3d/>
        </p:spPr>
        <p:txBody>
          <a:bodyPr rot="0" spcFirstLastPara="1" vertOverflow="overflow" horzOverflow="overflow" vert="horz" wrap="none" lIns="0" tIns="0" rIns="0" bIns="0" numCol="1" spcCol="38100" rtlCol="0" anchor="t">
            <a:sp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Open Sans"/>
              <a:ea typeface="Open Sans"/>
              <a:cs typeface="Open Sans"/>
              <a:sym typeface="Open Sans"/>
            </a:endParaRPr>
          </a:p>
        </p:txBody>
      </p:sp>
      <p:cxnSp>
        <p:nvCxnSpPr>
          <p:cNvPr id="95" name="Connector: Elbow 94">
            <a:extLst>
              <a:ext uri="{FF2B5EF4-FFF2-40B4-BE49-F238E27FC236}">
                <a16:creationId xmlns:a16="http://schemas.microsoft.com/office/drawing/2014/main" id="{46B22BAF-813A-5462-9C3B-A31D32C7C001}"/>
              </a:ext>
            </a:extLst>
          </p:cNvPr>
          <p:cNvCxnSpPr>
            <a:cxnSpLocks/>
          </p:cNvCxnSpPr>
          <p:nvPr/>
        </p:nvCxnSpPr>
        <p:spPr bwMode="auto">
          <a:xfrm>
            <a:off x="7693777" y="2087120"/>
            <a:ext cx="828520" cy="6014"/>
          </a:xfrm>
          <a:prstGeom prst="bentConnector3">
            <a:avLst>
              <a:gd name="adj1" fmla="val 50000"/>
            </a:avLst>
          </a:prstGeom>
          <a:noFill/>
          <a:ln w="19050" cap="flat" cmpd="sng" algn="ctr">
            <a:solidFill>
              <a:srgbClr val="FFFFFF">
                <a:lumMod val="65000"/>
              </a:srgbClr>
            </a:solidFill>
            <a:prstDash val="sysDash"/>
            <a:round/>
            <a:headEnd type="none" w="med" len="med"/>
            <a:tailEnd type="triangle"/>
          </a:ln>
          <a:effectLst/>
        </p:spPr>
      </p:cxnSp>
      <p:sp>
        <p:nvSpPr>
          <p:cNvPr id="96" name="Text Placeholder 2">
            <a:extLst>
              <a:ext uri="{FF2B5EF4-FFF2-40B4-BE49-F238E27FC236}">
                <a16:creationId xmlns:a16="http://schemas.microsoft.com/office/drawing/2014/main" id="{A2005D76-B473-4AD3-CA47-DFD194B2F0A1}"/>
              </a:ext>
            </a:extLst>
          </p:cNvPr>
          <p:cNvSpPr txBox="1">
            <a:spLocks/>
          </p:cNvSpPr>
          <p:nvPr/>
        </p:nvSpPr>
        <p:spPr>
          <a:xfrm>
            <a:off x="8556258" y="2035387"/>
            <a:ext cx="2286000"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FDNY transports patient</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FDNY transports from the facility to Bellevue.</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endParaRPr kumimoji="0" lang="en-US" sz="1050" b="0" i="0" u="none" strike="noStrike" kern="1200" cap="none" spc="-30" normalizeH="0" baseline="0" noProof="0">
              <a:ln>
                <a:noFill/>
              </a:ln>
              <a:solidFill>
                <a:srgbClr val="A7A7A7">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sp>
        <p:nvSpPr>
          <p:cNvPr id="97" name="Text Placeholder 2">
            <a:extLst>
              <a:ext uri="{FF2B5EF4-FFF2-40B4-BE49-F238E27FC236}">
                <a16:creationId xmlns:a16="http://schemas.microsoft.com/office/drawing/2014/main" id="{CD6E9406-74A3-D47B-D4B7-8A43087FF78A}"/>
              </a:ext>
            </a:extLst>
          </p:cNvPr>
          <p:cNvSpPr txBox="1">
            <a:spLocks/>
          </p:cNvSpPr>
          <p:nvPr/>
        </p:nvSpPr>
        <p:spPr>
          <a:xfrm>
            <a:off x="5513802" y="3287799"/>
            <a:ext cx="2704038"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Partners identify EMS agency</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The facility coordinates with their DOH, Bellevue, and NYC DOHMH to identify an appropriate EMS agency.</a:t>
            </a:r>
          </a:p>
        </p:txBody>
      </p:sp>
      <p:sp>
        <p:nvSpPr>
          <p:cNvPr id="98" name="Text Placeholder 2">
            <a:extLst>
              <a:ext uri="{FF2B5EF4-FFF2-40B4-BE49-F238E27FC236}">
                <a16:creationId xmlns:a16="http://schemas.microsoft.com/office/drawing/2014/main" id="{6094AAA8-9CD2-9F28-8C23-7F3F53E5C723}"/>
              </a:ext>
            </a:extLst>
          </p:cNvPr>
          <p:cNvSpPr txBox="1">
            <a:spLocks/>
          </p:cNvSpPr>
          <p:nvPr/>
        </p:nvSpPr>
        <p:spPr>
          <a:xfrm>
            <a:off x="4557182" y="4530885"/>
            <a:ext cx="2490704"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Partners identify EMS agency</a:t>
            </a:r>
          </a:p>
          <a:p>
            <a:pPr>
              <a:spcBef>
                <a:spcPts val="300"/>
              </a:spcBef>
              <a:buClr>
                <a:srgbClr val="4472C4"/>
              </a:buClr>
              <a:defRPr/>
            </a:pPr>
            <a:r>
              <a:rPr lang="en-US" sz="105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a:rPr>
              <a:t>The facility coordinates with their DOH to identify an appropriate EMS agency to transport the patient to the airport.</a:t>
            </a:r>
          </a:p>
        </p:txBody>
      </p:sp>
      <p:sp>
        <p:nvSpPr>
          <p:cNvPr id="99" name="Text Placeholder 2">
            <a:extLst>
              <a:ext uri="{FF2B5EF4-FFF2-40B4-BE49-F238E27FC236}">
                <a16:creationId xmlns:a16="http://schemas.microsoft.com/office/drawing/2014/main" id="{8B0EC021-C6E8-0F60-717A-A4E641E60A56}"/>
              </a:ext>
            </a:extLst>
          </p:cNvPr>
          <p:cNvSpPr txBox="1">
            <a:spLocks/>
          </p:cNvSpPr>
          <p:nvPr/>
        </p:nvSpPr>
        <p:spPr>
          <a:xfrm>
            <a:off x="4557182" y="5381488"/>
            <a:ext cx="2370237"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Partners request aircraft</a:t>
            </a:r>
          </a:p>
          <a:p>
            <a:pPr>
              <a:spcBef>
                <a:spcPts val="300"/>
              </a:spcBef>
              <a:buClr>
                <a:srgbClr val="4472C4"/>
              </a:buClr>
              <a:defRPr/>
            </a:pPr>
            <a:r>
              <a:rPr lang="en-US" sz="1050">
                <a:solidFill>
                  <a:schemeClr val="tx1"/>
                </a:solidFill>
                <a:latin typeface="Open Sans" panose="020B0606030504020204" pitchFamily="34" charset="0"/>
                <a:ea typeface="Open Sans" panose="020B0606030504020204" pitchFamily="34" charset="0"/>
                <a:cs typeface="Open Sans" panose="020B0606030504020204" pitchFamily="34" charset="0"/>
                <a:sym typeface="Open Sans"/>
              </a:rPr>
              <a:t>The sending DOH works with the ASPR REC to request Phoenix Air Group (PAG) aircraft to transport to NYC.</a:t>
            </a:r>
          </a:p>
        </p:txBody>
      </p:sp>
      <p:sp>
        <p:nvSpPr>
          <p:cNvPr id="100" name="Text Placeholder 2">
            <a:extLst>
              <a:ext uri="{FF2B5EF4-FFF2-40B4-BE49-F238E27FC236}">
                <a16:creationId xmlns:a16="http://schemas.microsoft.com/office/drawing/2014/main" id="{4576AE9A-5A1A-8A48-6B2F-57EA6F11C96C}"/>
              </a:ext>
            </a:extLst>
          </p:cNvPr>
          <p:cNvSpPr txBox="1">
            <a:spLocks/>
          </p:cNvSpPr>
          <p:nvPr/>
        </p:nvSpPr>
        <p:spPr>
          <a:xfrm>
            <a:off x="8030654" y="4530885"/>
            <a:ext cx="2286000"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EMS agency and PAG transport patient</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The local EMS agency transports the patient to the airport and PAG transports the patient to NYC.</a:t>
            </a:r>
          </a:p>
        </p:txBody>
      </p:sp>
      <p:sp>
        <p:nvSpPr>
          <p:cNvPr id="101" name="Text Placeholder 2">
            <a:extLst>
              <a:ext uri="{FF2B5EF4-FFF2-40B4-BE49-F238E27FC236}">
                <a16:creationId xmlns:a16="http://schemas.microsoft.com/office/drawing/2014/main" id="{4C7BF7B0-F155-1BF1-D975-069BAD9776B9}"/>
              </a:ext>
            </a:extLst>
          </p:cNvPr>
          <p:cNvSpPr txBox="1">
            <a:spLocks/>
          </p:cNvSpPr>
          <p:nvPr/>
        </p:nvSpPr>
        <p:spPr>
          <a:xfrm>
            <a:off x="9577709" y="5662765"/>
            <a:ext cx="2286000"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FDNY transports patient</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FDNY transports the patient from the airport to Bellevue.</a:t>
            </a:r>
          </a:p>
        </p:txBody>
      </p:sp>
      <p:sp>
        <p:nvSpPr>
          <p:cNvPr id="102" name="Text Placeholder 2">
            <a:extLst>
              <a:ext uri="{FF2B5EF4-FFF2-40B4-BE49-F238E27FC236}">
                <a16:creationId xmlns:a16="http://schemas.microsoft.com/office/drawing/2014/main" id="{B60CE6A3-CBF5-A707-7379-242A179F706F}"/>
              </a:ext>
            </a:extLst>
          </p:cNvPr>
          <p:cNvSpPr txBox="1">
            <a:spLocks/>
          </p:cNvSpPr>
          <p:nvPr/>
        </p:nvSpPr>
        <p:spPr>
          <a:xfrm>
            <a:off x="8817530" y="3287799"/>
            <a:ext cx="2633044" cy="822960"/>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400"/>
              </a:spcBef>
              <a:spcAft>
                <a:spcPts val="0"/>
              </a:spcAft>
              <a:buClr>
                <a:srgbClr val="4472C4"/>
              </a:buClr>
              <a:buSzPct val="75000"/>
              <a:buFont typeface="Arial" panose="020B0604020202020204" pitchFamily="34" charset="0"/>
              <a:buNone/>
              <a:tabLst/>
              <a:defRPr/>
            </a:pPr>
            <a:r>
              <a:rPr kumimoji="0" lang="en-US" sz="1400" b="1" i="0" u="none" strike="noStrike" kern="1200" cap="none" spc="-3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EMS agency transports patient</a:t>
            </a:r>
          </a:p>
          <a:p>
            <a:pPr marL="0" marR="0" lvl="0" indent="0" algn="l" defTabSz="914400" rtl="0" eaLnBrk="1" fontAlgn="auto" latinLnBrk="0" hangingPunct="1">
              <a:lnSpc>
                <a:spcPct val="100000"/>
              </a:lnSpc>
              <a:spcBef>
                <a:spcPts val="300"/>
              </a:spcBef>
              <a:spcAft>
                <a:spcPts val="0"/>
              </a:spcAft>
              <a:buClr>
                <a:srgbClr val="4472C4"/>
              </a:buClr>
              <a:buSzPct val="75000"/>
              <a:buFont typeface="Arial" panose="020B0604020202020204" pitchFamily="34" charset="0"/>
              <a:buNone/>
              <a:tabLst/>
              <a:defRPr/>
            </a:pPr>
            <a:r>
              <a:rPr kumimoji="0" lang="en-US" sz="1050" b="0" i="0" u="none" strike="noStrike" kern="1200" cap="none" spc="-30" normalizeH="0" baseline="0" noProof="0">
                <a:ln>
                  <a:noFill/>
                </a:ln>
                <a:solidFill>
                  <a:schemeClr val="tx1"/>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t>The EMS agency transports from the facility to Bellevue.</a:t>
            </a:r>
          </a:p>
        </p:txBody>
      </p:sp>
      <p:sp>
        <p:nvSpPr>
          <p:cNvPr id="103" name="Freeform 111">
            <a:extLst>
              <a:ext uri="{FF2B5EF4-FFF2-40B4-BE49-F238E27FC236}">
                <a16:creationId xmlns:a16="http://schemas.microsoft.com/office/drawing/2014/main" id="{D32433B1-BDED-D000-F720-585B7F782BB9}"/>
              </a:ext>
            </a:extLst>
          </p:cNvPr>
          <p:cNvSpPr>
            <a:spLocks noEditPoints="1"/>
          </p:cNvSpPr>
          <p:nvPr/>
        </p:nvSpPr>
        <p:spPr bwMode="auto">
          <a:xfrm>
            <a:off x="190103" y="5004594"/>
            <a:ext cx="914400" cy="457200"/>
          </a:xfrm>
          <a:custGeom>
            <a:avLst/>
            <a:gdLst>
              <a:gd name="T0" fmla="*/ 74 w 505"/>
              <a:gd name="T1" fmla="*/ 41 h 263"/>
              <a:gd name="T2" fmla="*/ 105 w 505"/>
              <a:gd name="T3" fmla="*/ 78 h 263"/>
              <a:gd name="T4" fmla="*/ 137 w 505"/>
              <a:gd name="T5" fmla="*/ 178 h 263"/>
              <a:gd name="T6" fmla="*/ 80 w 505"/>
              <a:gd name="T7" fmla="*/ 245 h 263"/>
              <a:gd name="T8" fmla="*/ 46 w 505"/>
              <a:gd name="T9" fmla="*/ 128 h 263"/>
              <a:gd name="T10" fmla="*/ 82 w 505"/>
              <a:gd name="T11" fmla="*/ 143 h 263"/>
              <a:gd name="T12" fmla="*/ 90 w 505"/>
              <a:gd name="T13" fmla="*/ 142 h 263"/>
              <a:gd name="T14" fmla="*/ 89 w 505"/>
              <a:gd name="T15" fmla="*/ 130 h 263"/>
              <a:gd name="T16" fmla="*/ 97 w 505"/>
              <a:gd name="T17" fmla="*/ 139 h 263"/>
              <a:gd name="T18" fmla="*/ 103 w 505"/>
              <a:gd name="T19" fmla="*/ 139 h 263"/>
              <a:gd name="T20" fmla="*/ 400 w 505"/>
              <a:gd name="T21" fmla="*/ 78 h 263"/>
              <a:gd name="T22" fmla="*/ 467 w 505"/>
              <a:gd name="T23" fmla="*/ 77 h 263"/>
              <a:gd name="T24" fmla="*/ 400 w 505"/>
              <a:gd name="T25" fmla="*/ 127 h 263"/>
              <a:gd name="T26" fmla="*/ 405 w 505"/>
              <a:gd name="T27" fmla="*/ 237 h 263"/>
              <a:gd name="T28" fmla="*/ 480 w 505"/>
              <a:gd name="T29" fmla="*/ 245 h 263"/>
              <a:gd name="T30" fmla="*/ 436 w 505"/>
              <a:gd name="T31" fmla="*/ 139 h 263"/>
              <a:gd name="T32" fmla="*/ 407 w 505"/>
              <a:gd name="T33" fmla="*/ 161 h 263"/>
              <a:gd name="T34" fmla="*/ 420 w 505"/>
              <a:gd name="T35" fmla="*/ 138 h 263"/>
              <a:gd name="T36" fmla="*/ 407 w 505"/>
              <a:gd name="T37" fmla="*/ 132 h 263"/>
              <a:gd name="T38" fmla="*/ 400 w 505"/>
              <a:gd name="T39" fmla="*/ 158 h 263"/>
              <a:gd name="T40" fmla="*/ 400 w 505"/>
              <a:gd name="T41" fmla="*/ 127 h 263"/>
              <a:gd name="T42" fmla="*/ 251 w 505"/>
              <a:gd name="T43" fmla="*/ 0 h 263"/>
              <a:gd name="T44" fmla="*/ 281 w 505"/>
              <a:gd name="T45" fmla="*/ 31 h 263"/>
              <a:gd name="T46" fmla="*/ 190 w 505"/>
              <a:gd name="T47" fmla="*/ 102 h 263"/>
              <a:gd name="T48" fmla="*/ 226 w 505"/>
              <a:gd name="T49" fmla="*/ 79 h 263"/>
              <a:gd name="T50" fmla="*/ 246 w 505"/>
              <a:gd name="T51" fmla="*/ 93 h 263"/>
              <a:gd name="T52" fmla="*/ 251 w 505"/>
              <a:gd name="T53" fmla="*/ 83 h 263"/>
              <a:gd name="T54" fmla="*/ 257 w 505"/>
              <a:gd name="T55" fmla="*/ 93 h 263"/>
              <a:gd name="T56" fmla="*/ 277 w 505"/>
              <a:gd name="T57" fmla="*/ 79 h 263"/>
              <a:gd name="T58" fmla="*/ 313 w 505"/>
              <a:gd name="T59" fmla="*/ 102 h 263"/>
              <a:gd name="T60" fmla="*/ 181 w 505"/>
              <a:gd name="T61" fmla="*/ 149 h 263"/>
              <a:gd name="T62" fmla="*/ 344 w 505"/>
              <a:gd name="T63" fmla="*/ 159 h 263"/>
              <a:gd name="T64" fmla="*/ 162 w 505"/>
              <a:gd name="T65" fmla="*/ 158 h 263"/>
              <a:gd name="T66" fmla="*/ 96 w 505"/>
              <a:gd name="T6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5" h="263">
                <a:moveTo>
                  <a:pt x="105" y="78"/>
                </a:moveTo>
                <a:cubicBezTo>
                  <a:pt x="103" y="59"/>
                  <a:pt x="93" y="43"/>
                  <a:pt x="74" y="41"/>
                </a:cubicBezTo>
                <a:cubicBezTo>
                  <a:pt x="48" y="39"/>
                  <a:pt x="37" y="59"/>
                  <a:pt x="38" y="77"/>
                </a:cubicBezTo>
                <a:cubicBezTo>
                  <a:pt x="43" y="150"/>
                  <a:pt x="110" y="150"/>
                  <a:pt x="105" y="78"/>
                </a:cubicBezTo>
                <a:close/>
                <a:moveTo>
                  <a:pt x="105" y="127"/>
                </a:moveTo>
                <a:cubicBezTo>
                  <a:pt x="105" y="127"/>
                  <a:pt x="146" y="164"/>
                  <a:pt x="137" y="178"/>
                </a:cubicBezTo>
                <a:cubicBezTo>
                  <a:pt x="100" y="237"/>
                  <a:pt x="100" y="237"/>
                  <a:pt x="100" y="237"/>
                </a:cubicBezTo>
                <a:cubicBezTo>
                  <a:pt x="94" y="246"/>
                  <a:pt x="89" y="245"/>
                  <a:pt x="80" y="245"/>
                </a:cubicBezTo>
                <a:cubicBezTo>
                  <a:pt x="25" y="245"/>
                  <a:pt x="25" y="245"/>
                  <a:pt x="25" y="245"/>
                </a:cubicBezTo>
                <a:cubicBezTo>
                  <a:pt x="0" y="245"/>
                  <a:pt x="46" y="128"/>
                  <a:pt x="46" y="128"/>
                </a:cubicBezTo>
                <a:cubicBezTo>
                  <a:pt x="58" y="136"/>
                  <a:pt x="61" y="137"/>
                  <a:pt x="69" y="139"/>
                </a:cubicBezTo>
                <a:cubicBezTo>
                  <a:pt x="74" y="140"/>
                  <a:pt x="77" y="141"/>
                  <a:pt x="82" y="143"/>
                </a:cubicBezTo>
                <a:cubicBezTo>
                  <a:pt x="89" y="148"/>
                  <a:pt x="93" y="155"/>
                  <a:pt x="98" y="161"/>
                </a:cubicBezTo>
                <a:cubicBezTo>
                  <a:pt x="90" y="142"/>
                  <a:pt x="90" y="142"/>
                  <a:pt x="90" y="142"/>
                </a:cubicBezTo>
                <a:cubicBezTo>
                  <a:pt x="85" y="138"/>
                  <a:pt x="85" y="138"/>
                  <a:pt x="85" y="138"/>
                </a:cubicBezTo>
                <a:cubicBezTo>
                  <a:pt x="89" y="130"/>
                  <a:pt x="89" y="130"/>
                  <a:pt x="89" y="130"/>
                </a:cubicBezTo>
                <a:cubicBezTo>
                  <a:pt x="98" y="132"/>
                  <a:pt x="98" y="132"/>
                  <a:pt x="98" y="132"/>
                </a:cubicBezTo>
                <a:cubicBezTo>
                  <a:pt x="97" y="139"/>
                  <a:pt x="97" y="139"/>
                  <a:pt x="97" y="139"/>
                </a:cubicBezTo>
                <a:cubicBezTo>
                  <a:pt x="105" y="158"/>
                  <a:pt x="105" y="158"/>
                  <a:pt x="105" y="158"/>
                </a:cubicBezTo>
                <a:cubicBezTo>
                  <a:pt x="105" y="153"/>
                  <a:pt x="104" y="145"/>
                  <a:pt x="103" y="139"/>
                </a:cubicBezTo>
                <a:cubicBezTo>
                  <a:pt x="101" y="131"/>
                  <a:pt x="101" y="130"/>
                  <a:pt x="105" y="127"/>
                </a:cubicBezTo>
                <a:close/>
                <a:moveTo>
                  <a:pt x="400" y="78"/>
                </a:moveTo>
                <a:cubicBezTo>
                  <a:pt x="402" y="59"/>
                  <a:pt x="411" y="43"/>
                  <a:pt x="431" y="41"/>
                </a:cubicBezTo>
                <a:cubicBezTo>
                  <a:pt x="457" y="39"/>
                  <a:pt x="468" y="59"/>
                  <a:pt x="467" y="77"/>
                </a:cubicBezTo>
                <a:cubicBezTo>
                  <a:pt x="462" y="150"/>
                  <a:pt x="395" y="150"/>
                  <a:pt x="400" y="78"/>
                </a:cubicBezTo>
                <a:close/>
                <a:moveTo>
                  <a:pt x="400" y="127"/>
                </a:moveTo>
                <a:cubicBezTo>
                  <a:pt x="400" y="127"/>
                  <a:pt x="359" y="164"/>
                  <a:pt x="368" y="178"/>
                </a:cubicBezTo>
                <a:cubicBezTo>
                  <a:pt x="405" y="237"/>
                  <a:pt x="405" y="237"/>
                  <a:pt x="405" y="237"/>
                </a:cubicBezTo>
                <a:cubicBezTo>
                  <a:pt x="410" y="246"/>
                  <a:pt x="416" y="245"/>
                  <a:pt x="425" y="245"/>
                </a:cubicBezTo>
                <a:cubicBezTo>
                  <a:pt x="480" y="245"/>
                  <a:pt x="480" y="245"/>
                  <a:pt x="480" y="245"/>
                </a:cubicBezTo>
                <a:cubicBezTo>
                  <a:pt x="505" y="245"/>
                  <a:pt x="459" y="128"/>
                  <a:pt x="459" y="128"/>
                </a:cubicBezTo>
                <a:cubicBezTo>
                  <a:pt x="447" y="136"/>
                  <a:pt x="443" y="137"/>
                  <a:pt x="436" y="139"/>
                </a:cubicBezTo>
                <a:cubicBezTo>
                  <a:pt x="431" y="140"/>
                  <a:pt x="428" y="141"/>
                  <a:pt x="423" y="143"/>
                </a:cubicBezTo>
                <a:cubicBezTo>
                  <a:pt x="416" y="148"/>
                  <a:pt x="411" y="155"/>
                  <a:pt x="407" y="161"/>
                </a:cubicBezTo>
                <a:cubicBezTo>
                  <a:pt x="415" y="142"/>
                  <a:pt x="415" y="142"/>
                  <a:pt x="415" y="142"/>
                </a:cubicBezTo>
                <a:cubicBezTo>
                  <a:pt x="420" y="138"/>
                  <a:pt x="420" y="138"/>
                  <a:pt x="420" y="138"/>
                </a:cubicBezTo>
                <a:cubicBezTo>
                  <a:pt x="416" y="130"/>
                  <a:pt x="416" y="130"/>
                  <a:pt x="416" y="130"/>
                </a:cubicBezTo>
                <a:cubicBezTo>
                  <a:pt x="407" y="132"/>
                  <a:pt x="407" y="132"/>
                  <a:pt x="407" y="132"/>
                </a:cubicBezTo>
                <a:cubicBezTo>
                  <a:pt x="408" y="139"/>
                  <a:pt x="408" y="139"/>
                  <a:pt x="408" y="139"/>
                </a:cubicBezTo>
                <a:cubicBezTo>
                  <a:pt x="400" y="158"/>
                  <a:pt x="400" y="158"/>
                  <a:pt x="400" y="158"/>
                </a:cubicBezTo>
                <a:cubicBezTo>
                  <a:pt x="400" y="153"/>
                  <a:pt x="401" y="145"/>
                  <a:pt x="402" y="139"/>
                </a:cubicBezTo>
                <a:cubicBezTo>
                  <a:pt x="404" y="131"/>
                  <a:pt x="404" y="130"/>
                  <a:pt x="400" y="127"/>
                </a:cubicBezTo>
                <a:close/>
                <a:moveTo>
                  <a:pt x="281" y="31"/>
                </a:moveTo>
                <a:cubicBezTo>
                  <a:pt x="281" y="14"/>
                  <a:pt x="270" y="0"/>
                  <a:pt x="251" y="0"/>
                </a:cubicBezTo>
                <a:cubicBezTo>
                  <a:pt x="232" y="0"/>
                  <a:pt x="222" y="14"/>
                  <a:pt x="222" y="31"/>
                </a:cubicBezTo>
                <a:cubicBezTo>
                  <a:pt x="222" y="95"/>
                  <a:pt x="281" y="94"/>
                  <a:pt x="281" y="31"/>
                </a:cubicBezTo>
                <a:close/>
                <a:moveTo>
                  <a:pt x="181" y="149"/>
                </a:moveTo>
                <a:cubicBezTo>
                  <a:pt x="181" y="133"/>
                  <a:pt x="183" y="116"/>
                  <a:pt x="190" y="102"/>
                </a:cubicBezTo>
                <a:cubicBezTo>
                  <a:pt x="197" y="90"/>
                  <a:pt x="209" y="79"/>
                  <a:pt x="223" y="79"/>
                </a:cubicBezTo>
                <a:cubicBezTo>
                  <a:pt x="226" y="79"/>
                  <a:pt x="226" y="79"/>
                  <a:pt x="226" y="79"/>
                </a:cubicBezTo>
                <a:cubicBezTo>
                  <a:pt x="246" y="109"/>
                  <a:pt x="246" y="109"/>
                  <a:pt x="246" y="109"/>
                </a:cubicBezTo>
                <a:cubicBezTo>
                  <a:pt x="246" y="93"/>
                  <a:pt x="246" y="93"/>
                  <a:pt x="246" y="93"/>
                </a:cubicBezTo>
                <a:cubicBezTo>
                  <a:pt x="243" y="90"/>
                  <a:pt x="243" y="90"/>
                  <a:pt x="243" y="90"/>
                </a:cubicBezTo>
                <a:cubicBezTo>
                  <a:pt x="251" y="83"/>
                  <a:pt x="251" y="83"/>
                  <a:pt x="251" y="83"/>
                </a:cubicBezTo>
                <a:cubicBezTo>
                  <a:pt x="260" y="90"/>
                  <a:pt x="260" y="90"/>
                  <a:pt x="260" y="90"/>
                </a:cubicBezTo>
                <a:cubicBezTo>
                  <a:pt x="257" y="93"/>
                  <a:pt x="257" y="93"/>
                  <a:pt x="257" y="93"/>
                </a:cubicBezTo>
                <a:cubicBezTo>
                  <a:pt x="257" y="109"/>
                  <a:pt x="257" y="109"/>
                  <a:pt x="257" y="109"/>
                </a:cubicBezTo>
                <a:cubicBezTo>
                  <a:pt x="277" y="79"/>
                  <a:pt x="277" y="79"/>
                  <a:pt x="277" y="79"/>
                </a:cubicBezTo>
                <a:cubicBezTo>
                  <a:pt x="280" y="79"/>
                  <a:pt x="280" y="79"/>
                  <a:pt x="280" y="79"/>
                </a:cubicBezTo>
                <a:cubicBezTo>
                  <a:pt x="294" y="79"/>
                  <a:pt x="306" y="90"/>
                  <a:pt x="313" y="102"/>
                </a:cubicBezTo>
                <a:cubicBezTo>
                  <a:pt x="319" y="115"/>
                  <a:pt x="322" y="133"/>
                  <a:pt x="322" y="149"/>
                </a:cubicBezTo>
                <a:cubicBezTo>
                  <a:pt x="181" y="149"/>
                  <a:pt x="181" y="149"/>
                  <a:pt x="181" y="149"/>
                </a:cubicBezTo>
                <a:close/>
                <a:moveTo>
                  <a:pt x="408" y="263"/>
                </a:moveTo>
                <a:cubicBezTo>
                  <a:pt x="344" y="159"/>
                  <a:pt x="344" y="159"/>
                  <a:pt x="344" y="159"/>
                </a:cubicBezTo>
                <a:cubicBezTo>
                  <a:pt x="344" y="159"/>
                  <a:pt x="343" y="158"/>
                  <a:pt x="342" y="158"/>
                </a:cubicBezTo>
                <a:cubicBezTo>
                  <a:pt x="162" y="158"/>
                  <a:pt x="162" y="158"/>
                  <a:pt x="162" y="158"/>
                </a:cubicBezTo>
                <a:cubicBezTo>
                  <a:pt x="162" y="158"/>
                  <a:pt x="161" y="159"/>
                  <a:pt x="161" y="159"/>
                </a:cubicBezTo>
                <a:cubicBezTo>
                  <a:pt x="96" y="263"/>
                  <a:pt x="96" y="263"/>
                  <a:pt x="96" y="263"/>
                </a:cubicBezTo>
                <a:cubicBezTo>
                  <a:pt x="408" y="263"/>
                  <a:pt x="408" y="263"/>
                  <a:pt x="408" y="263"/>
                </a:cubicBezTo>
                <a:close/>
              </a:path>
            </a:pathLst>
          </a:custGeom>
          <a:noFill/>
          <a:ln w="9525" cmpd="thinThick">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04" name="Group 103">
            <a:extLst>
              <a:ext uri="{FF2B5EF4-FFF2-40B4-BE49-F238E27FC236}">
                <a16:creationId xmlns:a16="http://schemas.microsoft.com/office/drawing/2014/main" id="{B1738E4C-B015-AC38-668B-06F804B19FBC}"/>
              </a:ext>
            </a:extLst>
          </p:cNvPr>
          <p:cNvGrpSpPr>
            <a:grpSpLocks noChangeAspect="1"/>
          </p:cNvGrpSpPr>
          <p:nvPr/>
        </p:nvGrpSpPr>
        <p:grpSpPr>
          <a:xfrm>
            <a:off x="2414641" y="3230742"/>
            <a:ext cx="579461" cy="615514"/>
            <a:chOff x="3530600" y="4405313"/>
            <a:chExt cx="688975" cy="731837"/>
          </a:xfrm>
          <a:solidFill>
            <a:srgbClr val="FFFFFF"/>
          </a:solidFill>
        </p:grpSpPr>
        <p:sp>
          <p:nvSpPr>
            <p:cNvPr id="143" name="Freeform 124">
              <a:extLst>
                <a:ext uri="{FF2B5EF4-FFF2-40B4-BE49-F238E27FC236}">
                  <a16:creationId xmlns:a16="http://schemas.microsoft.com/office/drawing/2014/main" id="{1C6B37C3-145B-EB61-54D8-A33537195602}"/>
                </a:ext>
              </a:extLst>
            </p:cNvPr>
            <p:cNvSpPr>
              <a:spLocks noEditPoints="1"/>
            </p:cNvSpPr>
            <p:nvPr/>
          </p:nvSpPr>
          <p:spPr bwMode="auto">
            <a:xfrm>
              <a:off x="3530600" y="4405313"/>
              <a:ext cx="427038" cy="731837"/>
            </a:xfrm>
            <a:custGeom>
              <a:avLst/>
              <a:gdLst>
                <a:gd name="T0" fmla="*/ 116 w 142"/>
                <a:gd name="T1" fmla="*/ 0 h 243"/>
                <a:gd name="T2" fmla="*/ 25 w 142"/>
                <a:gd name="T3" fmla="*/ 0 h 243"/>
                <a:gd name="T4" fmla="*/ 0 w 142"/>
                <a:gd name="T5" fmla="*/ 25 h 243"/>
                <a:gd name="T6" fmla="*/ 0 w 142"/>
                <a:gd name="T7" fmla="*/ 33 h 243"/>
                <a:gd name="T8" fmla="*/ 0 w 142"/>
                <a:gd name="T9" fmla="*/ 197 h 243"/>
                <a:gd name="T10" fmla="*/ 0 w 142"/>
                <a:gd name="T11" fmla="*/ 218 h 243"/>
                <a:gd name="T12" fmla="*/ 25 w 142"/>
                <a:gd name="T13" fmla="*/ 243 h 243"/>
                <a:gd name="T14" fmla="*/ 116 w 142"/>
                <a:gd name="T15" fmla="*/ 243 h 243"/>
                <a:gd name="T16" fmla="*/ 142 w 142"/>
                <a:gd name="T17" fmla="*/ 218 h 243"/>
                <a:gd name="T18" fmla="*/ 142 w 142"/>
                <a:gd name="T19" fmla="*/ 197 h 243"/>
                <a:gd name="T20" fmla="*/ 142 w 142"/>
                <a:gd name="T21" fmla="*/ 33 h 243"/>
                <a:gd name="T22" fmla="*/ 142 w 142"/>
                <a:gd name="T23" fmla="*/ 25 h 243"/>
                <a:gd name="T24" fmla="*/ 116 w 142"/>
                <a:gd name="T25" fmla="*/ 0 h 243"/>
                <a:gd name="T26" fmla="*/ 132 w 142"/>
                <a:gd name="T27" fmla="*/ 218 h 243"/>
                <a:gd name="T28" fmla="*/ 116 w 142"/>
                <a:gd name="T29" fmla="*/ 234 h 243"/>
                <a:gd name="T30" fmla="*/ 25 w 142"/>
                <a:gd name="T31" fmla="*/ 234 h 243"/>
                <a:gd name="T32" fmla="*/ 10 w 142"/>
                <a:gd name="T33" fmla="*/ 218 h 243"/>
                <a:gd name="T34" fmla="*/ 10 w 142"/>
                <a:gd name="T35" fmla="*/ 197 h 243"/>
                <a:gd name="T36" fmla="*/ 132 w 142"/>
                <a:gd name="T37" fmla="*/ 197 h 243"/>
                <a:gd name="T38" fmla="*/ 132 w 142"/>
                <a:gd name="T39" fmla="*/ 218 h 243"/>
                <a:gd name="T40" fmla="*/ 132 w 142"/>
                <a:gd name="T41" fmla="*/ 187 h 243"/>
                <a:gd name="T42" fmla="*/ 10 w 142"/>
                <a:gd name="T43" fmla="*/ 187 h 243"/>
                <a:gd name="T44" fmla="*/ 10 w 142"/>
                <a:gd name="T45" fmla="*/ 43 h 243"/>
                <a:gd name="T46" fmla="*/ 132 w 142"/>
                <a:gd name="T47" fmla="*/ 43 h 243"/>
                <a:gd name="T48" fmla="*/ 132 w 142"/>
                <a:gd name="T49" fmla="*/ 187 h 243"/>
                <a:gd name="T50" fmla="*/ 132 w 142"/>
                <a:gd name="T51" fmla="*/ 33 h 243"/>
                <a:gd name="T52" fmla="*/ 10 w 142"/>
                <a:gd name="T53" fmla="*/ 33 h 243"/>
                <a:gd name="T54" fmla="*/ 10 w 142"/>
                <a:gd name="T55" fmla="*/ 25 h 243"/>
                <a:gd name="T56" fmla="*/ 25 w 142"/>
                <a:gd name="T57" fmla="*/ 10 h 243"/>
                <a:gd name="T58" fmla="*/ 116 w 142"/>
                <a:gd name="T59" fmla="*/ 10 h 243"/>
                <a:gd name="T60" fmla="*/ 132 w 142"/>
                <a:gd name="T61" fmla="*/ 25 h 243"/>
                <a:gd name="T62" fmla="*/ 132 w 142"/>
                <a:gd name="T63" fmla="*/ 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243">
                  <a:moveTo>
                    <a:pt x="116" y="0"/>
                  </a:moveTo>
                  <a:cubicBezTo>
                    <a:pt x="25" y="0"/>
                    <a:pt x="25" y="0"/>
                    <a:pt x="25" y="0"/>
                  </a:cubicBezTo>
                  <a:cubicBezTo>
                    <a:pt x="11" y="0"/>
                    <a:pt x="0" y="11"/>
                    <a:pt x="0" y="25"/>
                  </a:cubicBezTo>
                  <a:cubicBezTo>
                    <a:pt x="0" y="33"/>
                    <a:pt x="0" y="33"/>
                    <a:pt x="0" y="33"/>
                  </a:cubicBezTo>
                  <a:cubicBezTo>
                    <a:pt x="0" y="197"/>
                    <a:pt x="0" y="197"/>
                    <a:pt x="0" y="197"/>
                  </a:cubicBezTo>
                  <a:cubicBezTo>
                    <a:pt x="0" y="218"/>
                    <a:pt x="0" y="218"/>
                    <a:pt x="0" y="218"/>
                  </a:cubicBezTo>
                  <a:cubicBezTo>
                    <a:pt x="0" y="232"/>
                    <a:pt x="11" y="243"/>
                    <a:pt x="25" y="243"/>
                  </a:cubicBezTo>
                  <a:cubicBezTo>
                    <a:pt x="116" y="243"/>
                    <a:pt x="116" y="243"/>
                    <a:pt x="116" y="243"/>
                  </a:cubicBezTo>
                  <a:cubicBezTo>
                    <a:pt x="130" y="243"/>
                    <a:pt x="142" y="232"/>
                    <a:pt x="142" y="218"/>
                  </a:cubicBezTo>
                  <a:cubicBezTo>
                    <a:pt x="142" y="197"/>
                    <a:pt x="142" y="197"/>
                    <a:pt x="142" y="197"/>
                  </a:cubicBezTo>
                  <a:cubicBezTo>
                    <a:pt x="142" y="33"/>
                    <a:pt x="142" y="33"/>
                    <a:pt x="142" y="33"/>
                  </a:cubicBezTo>
                  <a:cubicBezTo>
                    <a:pt x="142" y="25"/>
                    <a:pt x="142" y="25"/>
                    <a:pt x="142" y="25"/>
                  </a:cubicBezTo>
                  <a:cubicBezTo>
                    <a:pt x="142" y="11"/>
                    <a:pt x="130" y="0"/>
                    <a:pt x="116" y="0"/>
                  </a:cubicBezTo>
                  <a:close/>
                  <a:moveTo>
                    <a:pt x="132" y="218"/>
                  </a:moveTo>
                  <a:cubicBezTo>
                    <a:pt x="132" y="226"/>
                    <a:pt x="125" y="234"/>
                    <a:pt x="116" y="234"/>
                  </a:cubicBezTo>
                  <a:cubicBezTo>
                    <a:pt x="25" y="234"/>
                    <a:pt x="25" y="234"/>
                    <a:pt x="25" y="234"/>
                  </a:cubicBezTo>
                  <a:cubicBezTo>
                    <a:pt x="17" y="234"/>
                    <a:pt x="10" y="226"/>
                    <a:pt x="10" y="218"/>
                  </a:cubicBezTo>
                  <a:cubicBezTo>
                    <a:pt x="10" y="197"/>
                    <a:pt x="10" y="197"/>
                    <a:pt x="10" y="197"/>
                  </a:cubicBezTo>
                  <a:cubicBezTo>
                    <a:pt x="132" y="197"/>
                    <a:pt x="132" y="197"/>
                    <a:pt x="132" y="197"/>
                  </a:cubicBezTo>
                  <a:lnTo>
                    <a:pt x="132" y="218"/>
                  </a:lnTo>
                  <a:close/>
                  <a:moveTo>
                    <a:pt x="132" y="187"/>
                  </a:moveTo>
                  <a:cubicBezTo>
                    <a:pt x="10" y="187"/>
                    <a:pt x="10" y="187"/>
                    <a:pt x="10" y="187"/>
                  </a:cubicBezTo>
                  <a:cubicBezTo>
                    <a:pt x="10" y="43"/>
                    <a:pt x="10" y="43"/>
                    <a:pt x="10" y="43"/>
                  </a:cubicBezTo>
                  <a:cubicBezTo>
                    <a:pt x="132" y="43"/>
                    <a:pt x="132" y="43"/>
                    <a:pt x="132" y="43"/>
                  </a:cubicBezTo>
                  <a:lnTo>
                    <a:pt x="132" y="187"/>
                  </a:lnTo>
                  <a:close/>
                  <a:moveTo>
                    <a:pt x="132" y="33"/>
                  </a:moveTo>
                  <a:cubicBezTo>
                    <a:pt x="10" y="33"/>
                    <a:pt x="10" y="33"/>
                    <a:pt x="10" y="33"/>
                  </a:cubicBezTo>
                  <a:cubicBezTo>
                    <a:pt x="10" y="25"/>
                    <a:pt x="10" y="25"/>
                    <a:pt x="10" y="25"/>
                  </a:cubicBezTo>
                  <a:cubicBezTo>
                    <a:pt x="10" y="17"/>
                    <a:pt x="17" y="10"/>
                    <a:pt x="25" y="10"/>
                  </a:cubicBezTo>
                  <a:cubicBezTo>
                    <a:pt x="116" y="10"/>
                    <a:pt x="116" y="10"/>
                    <a:pt x="116" y="10"/>
                  </a:cubicBezTo>
                  <a:cubicBezTo>
                    <a:pt x="125" y="10"/>
                    <a:pt x="132" y="17"/>
                    <a:pt x="132" y="25"/>
                  </a:cubicBezTo>
                  <a:lnTo>
                    <a:pt x="132" y="33"/>
                  </a:lnTo>
                  <a:close/>
                </a:path>
              </a:pathLst>
            </a:custGeom>
            <a:grpFill/>
            <a:ln>
              <a:solidFill>
                <a:srgbClr val="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125">
              <a:extLst>
                <a:ext uri="{FF2B5EF4-FFF2-40B4-BE49-F238E27FC236}">
                  <a16:creationId xmlns:a16="http://schemas.microsoft.com/office/drawing/2014/main" id="{B64FC9F7-D48C-0354-7716-4BFCA602E1C1}"/>
                </a:ext>
              </a:extLst>
            </p:cNvPr>
            <p:cNvSpPr>
              <a:spLocks noEditPoints="1"/>
            </p:cNvSpPr>
            <p:nvPr/>
          </p:nvSpPr>
          <p:spPr bwMode="auto">
            <a:xfrm>
              <a:off x="3705225" y="5013325"/>
              <a:ext cx="74613" cy="76200"/>
            </a:xfrm>
            <a:custGeom>
              <a:avLst/>
              <a:gdLst>
                <a:gd name="T0" fmla="*/ 13 w 25"/>
                <a:gd name="T1" fmla="*/ 25 h 25"/>
                <a:gd name="T2" fmla="*/ 25 w 25"/>
                <a:gd name="T3" fmla="*/ 12 h 25"/>
                <a:gd name="T4" fmla="*/ 13 w 25"/>
                <a:gd name="T5" fmla="*/ 0 h 25"/>
                <a:gd name="T6" fmla="*/ 0 w 25"/>
                <a:gd name="T7" fmla="*/ 12 h 25"/>
                <a:gd name="T8" fmla="*/ 13 w 25"/>
                <a:gd name="T9" fmla="*/ 25 h 25"/>
                <a:gd name="T10" fmla="*/ 13 w 25"/>
                <a:gd name="T11" fmla="*/ 10 h 25"/>
                <a:gd name="T12" fmla="*/ 15 w 25"/>
                <a:gd name="T13" fmla="*/ 12 h 25"/>
                <a:gd name="T14" fmla="*/ 13 w 25"/>
                <a:gd name="T15" fmla="*/ 15 h 25"/>
                <a:gd name="T16" fmla="*/ 10 w 25"/>
                <a:gd name="T17" fmla="*/ 12 h 25"/>
                <a:gd name="T18" fmla="*/ 13 w 25"/>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19" y="25"/>
                    <a:pt x="25" y="19"/>
                    <a:pt x="25" y="12"/>
                  </a:cubicBezTo>
                  <a:cubicBezTo>
                    <a:pt x="25" y="6"/>
                    <a:pt x="19" y="0"/>
                    <a:pt x="13" y="0"/>
                  </a:cubicBezTo>
                  <a:cubicBezTo>
                    <a:pt x="6" y="0"/>
                    <a:pt x="0" y="6"/>
                    <a:pt x="0" y="12"/>
                  </a:cubicBezTo>
                  <a:cubicBezTo>
                    <a:pt x="0" y="19"/>
                    <a:pt x="6" y="25"/>
                    <a:pt x="13" y="25"/>
                  </a:cubicBezTo>
                  <a:close/>
                  <a:moveTo>
                    <a:pt x="13" y="10"/>
                  </a:moveTo>
                  <a:cubicBezTo>
                    <a:pt x="14" y="10"/>
                    <a:pt x="15" y="11"/>
                    <a:pt x="15" y="12"/>
                  </a:cubicBezTo>
                  <a:cubicBezTo>
                    <a:pt x="15" y="14"/>
                    <a:pt x="14" y="15"/>
                    <a:pt x="13" y="15"/>
                  </a:cubicBezTo>
                  <a:cubicBezTo>
                    <a:pt x="11" y="15"/>
                    <a:pt x="10" y="14"/>
                    <a:pt x="10" y="12"/>
                  </a:cubicBezTo>
                  <a:cubicBezTo>
                    <a:pt x="10" y="11"/>
                    <a:pt x="11" y="10"/>
                    <a:pt x="13" y="10"/>
                  </a:cubicBezTo>
                  <a:close/>
                </a:path>
              </a:pathLst>
            </a:custGeom>
            <a:grpFill/>
            <a:ln>
              <a:solidFill>
                <a:srgbClr val="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126">
              <a:extLst>
                <a:ext uri="{FF2B5EF4-FFF2-40B4-BE49-F238E27FC236}">
                  <a16:creationId xmlns:a16="http://schemas.microsoft.com/office/drawing/2014/main" id="{C4744018-5CF6-CF09-0ED2-6EA0C4B6998B}"/>
                </a:ext>
              </a:extLst>
            </p:cNvPr>
            <p:cNvSpPr>
              <a:spLocks/>
            </p:cNvSpPr>
            <p:nvPr/>
          </p:nvSpPr>
          <p:spPr bwMode="auto">
            <a:xfrm>
              <a:off x="4035425" y="4625975"/>
              <a:ext cx="84138" cy="276225"/>
            </a:xfrm>
            <a:custGeom>
              <a:avLst/>
              <a:gdLst>
                <a:gd name="T0" fmla="*/ 9 w 28"/>
                <a:gd name="T1" fmla="*/ 1 h 92"/>
                <a:gd name="T2" fmla="*/ 2 w 28"/>
                <a:gd name="T3" fmla="*/ 2 h 92"/>
                <a:gd name="T4" fmla="*/ 2 w 28"/>
                <a:gd name="T5" fmla="*/ 9 h 92"/>
                <a:gd name="T6" fmla="*/ 18 w 28"/>
                <a:gd name="T7" fmla="*/ 46 h 92"/>
                <a:gd name="T8" fmla="*/ 2 w 28"/>
                <a:gd name="T9" fmla="*/ 84 h 92"/>
                <a:gd name="T10" fmla="*/ 2 w 28"/>
                <a:gd name="T11" fmla="*/ 91 h 92"/>
                <a:gd name="T12" fmla="*/ 5 w 28"/>
                <a:gd name="T13" fmla="*/ 92 h 92"/>
                <a:gd name="T14" fmla="*/ 9 w 28"/>
                <a:gd name="T15" fmla="*/ 91 h 92"/>
                <a:gd name="T16" fmla="*/ 28 w 28"/>
                <a:gd name="T17" fmla="*/ 46 h 92"/>
                <a:gd name="T18" fmla="*/ 9 w 28"/>
                <a:gd name="T19"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92">
                  <a:moveTo>
                    <a:pt x="9" y="1"/>
                  </a:moveTo>
                  <a:cubicBezTo>
                    <a:pt x="7" y="0"/>
                    <a:pt x="4" y="0"/>
                    <a:pt x="2" y="2"/>
                  </a:cubicBezTo>
                  <a:cubicBezTo>
                    <a:pt x="0" y="4"/>
                    <a:pt x="0" y="7"/>
                    <a:pt x="2" y="9"/>
                  </a:cubicBezTo>
                  <a:cubicBezTo>
                    <a:pt x="13" y="18"/>
                    <a:pt x="18" y="32"/>
                    <a:pt x="18" y="46"/>
                  </a:cubicBezTo>
                  <a:cubicBezTo>
                    <a:pt x="18" y="61"/>
                    <a:pt x="13" y="74"/>
                    <a:pt x="2" y="84"/>
                  </a:cubicBezTo>
                  <a:cubicBezTo>
                    <a:pt x="0" y="86"/>
                    <a:pt x="0" y="89"/>
                    <a:pt x="2" y="91"/>
                  </a:cubicBezTo>
                  <a:cubicBezTo>
                    <a:pt x="3" y="92"/>
                    <a:pt x="4" y="92"/>
                    <a:pt x="5" y="92"/>
                  </a:cubicBezTo>
                  <a:cubicBezTo>
                    <a:pt x="7" y="92"/>
                    <a:pt x="8" y="92"/>
                    <a:pt x="9" y="91"/>
                  </a:cubicBezTo>
                  <a:cubicBezTo>
                    <a:pt x="21" y="79"/>
                    <a:pt x="28" y="63"/>
                    <a:pt x="28" y="46"/>
                  </a:cubicBezTo>
                  <a:cubicBezTo>
                    <a:pt x="28" y="29"/>
                    <a:pt x="21" y="13"/>
                    <a:pt x="9" y="1"/>
                  </a:cubicBezTo>
                  <a:close/>
                </a:path>
              </a:pathLst>
            </a:custGeom>
            <a:grpFill/>
            <a:ln>
              <a:solidFill>
                <a:srgbClr val="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127">
              <a:extLst>
                <a:ext uri="{FF2B5EF4-FFF2-40B4-BE49-F238E27FC236}">
                  <a16:creationId xmlns:a16="http://schemas.microsoft.com/office/drawing/2014/main" id="{1B81CB76-0D14-7DB2-6481-89D991209F91}"/>
                </a:ext>
              </a:extLst>
            </p:cNvPr>
            <p:cNvSpPr>
              <a:spLocks/>
            </p:cNvSpPr>
            <p:nvPr/>
          </p:nvSpPr>
          <p:spPr bwMode="auto">
            <a:xfrm>
              <a:off x="4111625" y="4565650"/>
              <a:ext cx="107950" cy="396875"/>
            </a:xfrm>
            <a:custGeom>
              <a:avLst/>
              <a:gdLst>
                <a:gd name="T0" fmla="*/ 9 w 36"/>
                <a:gd name="T1" fmla="*/ 1 h 132"/>
                <a:gd name="T2" fmla="*/ 2 w 36"/>
                <a:gd name="T3" fmla="*/ 2 h 132"/>
                <a:gd name="T4" fmla="*/ 2 w 36"/>
                <a:gd name="T5" fmla="*/ 9 h 132"/>
                <a:gd name="T6" fmla="*/ 27 w 36"/>
                <a:gd name="T7" fmla="*/ 66 h 132"/>
                <a:gd name="T8" fmla="*/ 2 w 36"/>
                <a:gd name="T9" fmla="*/ 124 h 132"/>
                <a:gd name="T10" fmla="*/ 2 w 36"/>
                <a:gd name="T11" fmla="*/ 131 h 132"/>
                <a:gd name="T12" fmla="*/ 5 w 36"/>
                <a:gd name="T13" fmla="*/ 132 h 132"/>
                <a:gd name="T14" fmla="*/ 9 w 36"/>
                <a:gd name="T15" fmla="*/ 131 h 132"/>
                <a:gd name="T16" fmla="*/ 36 w 36"/>
                <a:gd name="T17" fmla="*/ 66 h 132"/>
                <a:gd name="T18" fmla="*/ 9 w 36"/>
                <a:gd name="T19"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32">
                  <a:moveTo>
                    <a:pt x="9" y="1"/>
                  </a:moveTo>
                  <a:cubicBezTo>
                    <a:pt x="7" y="0"/>
                    <a:pt x="4" y="0"/>
                    <a:pt x="2" y="2"/>
                  </a:cubicBezTo>
                  <a:cubicBezTo>
                    <a:pt x="0" y="4"/>
                    <a:pt x="0" y="7"/>
                    <a:pt x="2" y="9"/>
                  </a:cubicBezTo>
                  <a:cubicBezTo>
                    <a:pt x="18" y="24"/>
                    <a:pt x="27" y="44"/>
                    <a:pt x="27" y="66"/>
                  </a:cubicBezTo>
                  <a:cubicBezTo>
                    <a:pt x="27" y="88"/>
                    <a:pt x="18" y="109"/>
                    <a:pt x="2" y="124"/>
                  </a:cubicBezTo>
                  <a:cubicBezTo>
                    <a:pt x="0" y="126"/>
                    <a:pt x="0" y="129"/>
                    <a:pt x="2" y="131"/>
                  </a:cubicBezTo>
                  <a:cubicBezTo>
                    <a:pt x="3" y="132"/>
                    <a:pt x="4" y="132"/>
                    <a:pt x="5" y="132"/>
                  </a:cubicBezTo>
                  <a:cubicBezTo>
                    <a:pt x="6" y="132"/>
                    <a:pt x="8" y="132"/>
                    <a:pt x="9" y="131"/>
                  </a:cubicBezTo>
                  <a:cubicBezTo>
                    <a:pt x="27" y="114"/>
                    <a:pt x="36" y="91"/>
                    <a:pt x="36" y="66"/>
                  </a:cubicBezTo>
                  <a:cubicBezTo>
                    <a:pt x="36" y="42"/>
                    <a:pt x="27" y="19"/>
                    <a:pt x="9" y="1"/>
                  </a:cubicBezTo>
                  <a:close/>
                </a:path>
              </a:pathLst>
            </a:custGeom>
            <a:grpFill/>
            <a:ln>
              <a:solidFill>
                <a:srgbClr val="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pic>
        <p:nvPicPr>
          <p:cNvPr id="105" name="Graphic 104" descr="Take Off with solid fill">
            <a:extLst>
              <a:ext uri="{FF2B5EF4-FFF2-40B4-BE49-F238E27FC236}">
                <a16:creationId xmlns:a16="http://schemas.microsoft.com/office/drawing/2014/main" id="{953D6E33-1E41-7963-572D-F637BD2340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23456" y="4326164"/>
            <a:ext cx="1017617" cy="1017617"/>
          </a:xfrm>
          <a:prstGeom prst="rect">
            <a:avLst/>
          </a:prstGeom>
        </p:spPr>
      </p:pic>
      <p:pic>
        <p:nvPicPr>
          <p:cNvPr id="106" name="Graphic 104">
            <a:extLst>
              <a:ext uri="{FF2B5EF4-FFF2-40B4-BE49-F238E27FC236}">
                <a16:creationId xmlns:a16="http://schemas.microsoft.com/office/drawing/2014/main" id="{283D4EDB-6078-CC46-8BFC-99C78349841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6119" y="1864950"/>
            <a:ext cx="686518" cy="686518"/>
          </a:xfrm>
          <a:prstGeom prst="rect">
            <a:avLst/>
          </a:prstGeom>
        </p:spPr>
      </p:pic>
      <p:cxnSp>
        <p:nvCxnSpPr>
          <p:cNvPr id="107" name="Connector: Elbow 106">
            <a:extLst>
              <a:ext uri="{FF2B5EF4-FFF2-40B4-BE49-F238E27FC236}">
                <a16:creationId xmlns:a16="http://schemas.microsoft.com/office/drawing/2014/main" id="{CC43B0FA-7601-5EAA-75B4-F2AF22CF8719}"/>
              </a:ext>
            </a:extLst>
          </p:cNvPr>
          <p:cNvCxnSpPr>
            <a:cxnSpLocks/>
          </p:cNvCxnSpPr>
          <p:nvPr/>
        </p:nvCxnSpPr>
        <p:spPr bwMode="auto">
          <a:xfrm>
            <a:off x="4793229" y="3222959"/>
            <a:ext cx="720573" cy="142635"/>
          </a:xfrm>
          <a:prstGeom prst="bentConnector3">
            <a:avLst>
              <a:gd name="adj1" fmla="val 449"/>
            </a:avLst>
          </a:prstGeom>
          <a:noFill/>
          <a:ln w="19050" cap="flat" cmpd="sng" algn="ctr">
            <a:solidFill>
              <a:srgbClr val="FFFFFF">
                <a:lumMod val="65000"/>
              </a:srgbClr>
            </a:solidFill>
            <a:prstDash val="sysDash"/>
            <a:round/>
            <a:headEnd type="none" w="med" len="med"/>
            <a:tailEnd type="triangle"/>
          </a:ln>
          <a:effectLst/>
        </p:spPr>
      </p:cxnSp>
      <p:cxnSp>
        <p:nvCxnSpPr>
          <p:cNvPr id="108" name="Connector: Elbow 107">
            <a:extLst>
              <a:ext uri="{FF2B5EF4-FFF2-40B4-BE49-F238E27FC236}">
                <a16:creationId xmlns:a16="http://schemas.microsoft.com/office/drawing/2014/main" id="{39268C40-B986-FE48-E2EA-35B81F0B3239}"/>
              </a:ext>
            </a:extLst>
          </p:cNvPr>
          <p:cNvCxnSpPr>
            <a:cxnSpLocks/>
          </p:cNvCxnSpPr>
          <p:nvPr/>
        </p:nvCxnSpPr>
        <p:spPr bwMode="auto">
          <a:xfrm>
            <a:off x="8940141" y="5461794"/>
            <a:ext cx="583549" cy="269020"/>
          </a:xfrm>
          <a:prstGeom prst="bentConnector3">
            <a:avLst>
              <a:gd name="adj1" fmla="val 915"/>
            </a:avLst>
          </a:prstGeom>
          <a:noFill/>
          <a:ln w="19050" cap="flat" cmpd="sng" algn="ctr">
            <a:solidFill>
              <a:srgbClr val="FFFFFF">
                <a:lumMod val="65000"/>
              </a:srgbClr>
            </a:solidFill>
            <a:prstDash val="sysDash"/>
            <a:round/>
            <a:headEnd type="none" w="med" len="med"/>
            <a:tailEnd type="triangle"/>
          </a:ln>
          <a:effectLst/>
        </p:spPr>
      </p:cxnSp>
      <p:cxnSp>
        <p:nvCxnSpPr>
          <p:cNvPr id="109" name="Straight Arrow Connector 108">
            <a:extLst>
              <a:ext uri="{FF2B5EF4-FFF2-40B4-BE49-F238E27FC236}">
                <a16:creationId xmlns:a16="http://schemas.microsoft.com/office/drawing/2014/main" id="{8E5F9AB7-DA07-64DC-1FE7-615D29C1152D}"/>
              </a:ext>
            </a:extLst>
          </p:cNvPr>
          <p:cNvCxnSpPr>
            <a:cxnSpLocks/>
          </p:cNvCxnSpPr>
          <p:nvPr/>
        </p:nvCxnSpPr>
        <p:spPr bwMode="auto">
          <a:xfrm rot="16200000">
            <a:off x="7537687" y="4242789"/>
            <a:ext cx="0" cy="687843"/>
          </a:xfrm>
          <a:prstGeom prst="straightConnector1">
            <a:avLst/>
          </a:prstGeom>
          <a:noFill/>
          <a:ln w="19050" cap="flat" cmpd="sng" algn="ctr">
            <a:solidFill>
              <a:srgbClr val="FFFFFF">
                <a:lumMod val="65000"/>
              </a:srgbClr>
            </a:solidFill>
            <a:prstDash val="sysDash"/>
            <a:round/>
            <a:headEnd type="none" w="med" len="med"/>
            <a:tailEnd type="triangle"/>
          </a:ln>
          <a:effectLst/>
        </p:spPr>
      </p:cxnSp>
      <p:grpSp>
        <p:nvGrpSpPr>
          <p:cNvPr id="110" name="Group 109">
            <a:extLst>
              <a:ext uri="{FF2B5EF4-FFF2-40B4-BE49-F238E27FC236}">
                <a16:creationId xmlns:a16="http://schemas.microsoft.com/office/drawing/2014/main" id="{DC548394-B287-ECF5-1D6B-61097228E225}"/>
              </a:ext>
            </a:extLst>
          </p:cNvPr>
          <p:cNvGrpSpPr>
            <a:grpSpLocks noChangeAspect="1"/>
          </p:cNvGrpSpPr>
          <p:nvPr/>
        </p:nvGrpSpPr>
        <p:grpSpPr>
          <a:xfrm>
            <a:off x="7446365" y="5437632"/>
            <a:ext cx="687844" cy="564028"/>
            <a:chOff x="5916613" y="3068638"/>
            <a:chExt cx="555625" cy="455612"/>
          </a:xfrm>
          <a:noFill/>
        </p:grpSpPr>
        <p:sp>
          <p:nvSpPr>
            <p:cNvPr id="139" name="Freeform 194">
              <a:extLst>
                <a:ext uri="{FF2B5EF4-FFF2-40B4-BE49-F238E27FC236}">
                  <a16:creationId xmlns:a16="http://schemas.microsoft.com/office/drawing/2014/main" id="{91218B9C-A1EE-9F2D-399B-AC0C3F9874CE}"/>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ysClr val="windowText" lastClr="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0808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195">
              <a:extLst>
                <a:ext uri="{FF2B5EF4-FFF2-40B4-BE49-F238E27FC236}">
                  <a16:creationId xmlns:a16="http://schemas.microsoft.com/office/drawing/2014/main" id="{C8E1C838-B259-4778-B3D8-AF9A7C31C356}"/>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ysClr val="windowText" lastClr="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0808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196">
              <a:extLst>
                <a:ext uri="{FF2B5EF4-FFF2-40B4-BE49-F238E27FC236}">
                  <a16:creationId xmlns:a16="http://schemas.microsoft.com/office/drawing/2014/main" id="{B2B1768D-DF64-6BF0-B661-3FF2BD5AC824}"/>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ysClr val="windowText" lastClr="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0808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197">
              <a:extLst>
                <a:ext uri="{FF2B5EF4-FFF2-40B4-BE49-F238E27FC236}">
                  <a16:creationId xmlns:a16="http://schemas.microsoft.com/office/drawing/2014/main" id="{217563EC-C341-8F87-A662-32673D3D8926}"/>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ysClr val="windowText" lastClr="0000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80808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11" name="TextBox 110">
            <a:extLst>
              <a:ext uri="{FF2B5EF4-FFF2-40B4-BE49-F238E27FC236}">
                <a16:creationId xmlns:a16="http://schemas.microsoft.com/office/drawing/2014/main" id="{2AD491EA-8ECC-D55E-E63A-B4D2844F702B}"/>
              </a:ext>
            </a:extLst>
          </p:cNvPr>
          <p:cNvSpPr txBox="1"/>
          <p:nvPr/>
        </p:nvSpPr>
        <p:spPr>
          <a:xfrm>
            <a:off x="4989523" y="3285209"/>
            <a:ext cx="248906" cy="184666"/>
          </a:xfrm>
          <a:prstGeom prst="rect">
            <a:avLst/>
          </a:prstGeom>
          <a:solidFill>
            <a:srgbClr val="F2F2F2"/>
          </a:solidFill>
          <a:ln w="12700" cap="flat">
            <a:noFill/>
            <a:miter lim="400000"/>
          </a:ln>
          <a:effectLst/>
          <a:sp3d/>
        </p:spPr>
        <p:txBody>
          <a:bodyPr rot="0" spcFirstLastPara="1" vertOverflow="overflow" horzOverflow="overflow" vert="horz" wrap="square" lIns="0" tIns="0" rIns="0" bIns="0" numCol="1" spcCol="38100" rtlCol="0" anchor="t">
            <a:spAutoFit/>
          </a:bodyPr>
          <a:lstStyle/>
          <a:p>
            <a:pPr marL="0" marR="0" lvl="0" indent="0" algn="ctr" defTabSz="91440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a:ea typeface="Open Sans"/>
                <a:cs typeface="Open Sans"/>
                <a:sym typeface="Open Sans"/>
              </a:rPr>
              <a:t>NO</a:t>
            </a:r>
          </a:p>
        </p:txBody>
      </p:sp>
      <p:cxnSp>
        <p:nvCxnSpPr>
          <p:cNvPr id="112" name="Straight Arrow Connector 111">
            <a:extLst>
              <a:ext uri="{FF2B5EF4-FFF2-40B4-BE49-F238E27FC236}">
                <a16:creationId xmlns:a16="http://schemas.microsoft.com/office/drawing/2014/main" id="{4519975D-C269-9722-4E97-A59956DB134E}"/>
              </a:ext>
            </a:extLst>
          </p:cNvPr>
          <p:cNvCxnSpPr>
            <a:cxnSpLocks/>
          </p:cNvCxnSpPr>
          <p:nvPr/>
        </p:nvCxnSpPr>
        <p:spPr bwMode="auto">
          <a:xfrm rot="16200000">
            <a:off x="8389969" y="3046238"/>
            <a:ext cx="0" cy="687843"/>
          </a:xfrm>
          <a:prstGeom prst="straightConnector1">
            <a:avLst/>
          </a:prstGeom>
          <a:noFill/>
          <a:ln w="19050" cap="flat" cmpd="sng" algn="ctr">
            <a:solidFill>
              <a:srgbClr val="FFFFFF">
                <a:lumMod val="65000"/>
              </a:srgbClr>
            </a:solidFill>
            <a:prstDash val="sysDash"/>
            <a:round/>
            <a:headEnd type="none" w="med" len="med"/>
            <a:tailEnd type="triangle"/>
          </a:ln>
          <a:effectLst/>
        </p:spPr>
      </p:cxnSp>
      <p:sp>
        <p:nvSpPr>
          <p:cNvPr id="113" name="TextBox 112">
            <a:extLst>
              <a:ext uri="{FF2B5EF4-FFF2-40B4-BE49-F238E27FC236}">
                <a16:creationId xmlns:a16="http://schemas.microsoft.com/office/drawing/2014/main" id="{82465732-368D-4371-8EC8-CFBD0D90B740}"/>
              </a:ext>
            </a:extLst>
          </p:cNvPr>
          <p:cNvSpPr txBox="1"/>
          <p:nvPr/>
        </p:nvSpPr>
        <p:spPr>
          <a:xfrm>
            <a:off x="7925902" y="2011585"/>
            <a:ext cx="287697" cy="184666"/>
          </a:xfrm>
          <a:prstGeom prst="rect">
            <a:avLst/>
          </a:prstGeom>
          <a:solidFill>
            <a:srgbClr val="F2F2F2"/>
          </a:solidFill>
          <a:ln w="12700" cap="flat">
            <a:noFill/>
            <a:miter lim="400000"/>
          </a:ln>
          <a:effectLst/>
          <a:sp3d/>
        </p:spPr>
        <p:txBody>
          <a:bodyPr rot="0" spcFirstLastPara="1" vertOverflow="overflow" horzOverflow="overflow" vert="horz" wrap="square" lIns="0" tIns="0" rIns="0" bIns="0" numCol="1" spcCol="38100" rtlCol="0" anchor="t">
            <a:spAutoFit/>
          </a:bodyPr>
          <a:lstStyle/>
          <a:p>
            <a:pPr marL="0" marR="0" lvl="0" indent="0" algn="ctr" defTabSz="91440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Open Sans"/>
                <a:ea typeface="Open Sans"/>
                <a:cs typeface="Open Sans"/>
                <a:sym typeface="Open Sans"/>
              </a:rPr>
              <a:t>YES</a:t>
            </a:r>
          </a:p>
        </p:txBody>
      </p:sp>
      <p:sp>
        <p:nvSpPr>
          <p:cNvPr id="114" name="TextBox 113">
            <a:extLst>
              <a:ext uri="{FF2B5EF4-FFF2-40B4-BE49-F238E27FC236}">
                <a16:creationId xmlns:a16="http://schemas.microsoft.com/office/drawing/2014/main" id="{BA037419-7525-0CCD-9B07-F35AEBD9D44B}"/>
              </a:ext>
            </a:extLst>
          </p:cNvPr>
          <p:cNvSpPr txBox="1"/>
          <p:nvPr/>
        </p:nvSpPr>
        <p:spPr>
          <a:xfrm rot="16200000">
            <a:off x="4124693" y="2272147"/>
            <a:ext cx="287697" cy="184666"/>
          </a:xfrm>
          <a:prstGeom prst="rect">
            <a:avLst/>
          </a:prstGeom>
          <a:solidFill>
            <a:schemeClr val="bg1"/>
          </a:solidFill>
          <a:ln w="12700" cap="flat">
            <a:noFill/>
            <a:miter lim="400000"/>
          </a:ln>
          <a:effectLst/>
          <a:sp3d/>
        </p:spPr>
        <p:txBody>
          <a:bodyPr rot="0" spcFirstLastPara="1" vertOverflow="overflow" horzOverflow="overflow" vert="horz" wrap="square" lIns="0" tIns="0" rIns="0" bIns="0" numCol="1" spcCol="38100" rtlCol="0" anchor="t">
            <a:spAutoFit/>
          </a:bodyPr>
          <a:lstStyle/>
          <a:p>
            <a:pPr marL="0" marR="0" lvl="0" indent="0" algn="ctr" defTabSz="91440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latin typeface="Open Sans"/>
                <a:ea typeface="Open Sans"/>
                <a:cs typeface="Open Sans"/>
                <a:sym typeface="Open Sans"/>
              </a:rPr>
              <a:t>YES</a:t>
            </a:r>
          </a:p>
        </p:txBody>
      </p:sp>
      <p:sp>
        <p:nvSpPr>
          <p:cNvPr id="115" name="TextBox 114">
            <a:extLst>
              <a:ext uri="{FF2B5EF4-FFF2-40B4-BE49-F238E27FC236}">
                <a16:creationId xmlns:a16="http://schemas.microsoft.com/office/drawing/2014/main" id="{733477F0-F667-0CBD-CD9C-EF2F2E91EE34}"/>
              </a:ext>
            </a:extLst>
          </p:cNvPr>
          <p:cNvSpPr txBox="1"/>
          <p:nvPr/>
        </p:nvSpPr>
        <p:spPr>
          <a:xfrm>
            <a:off x="4014713" y="4203413"/>
            <a:ext cx="287697" cy="184666"/>
          </a:xfrm>
          <a:prstGeom prst="rect">
            <a:avLst/>
          </a:prstGeom>
          <a:solidFill>
            <a:schemeClr val="bg1"/>
          </a:solidFill>
          <a:ln w="12700" cap="flat">
            <a:noFill/>
            <a:miter lim="400000"/>
          </a:ln>
          <a:effectLst/>
          <a:sp3d/>
        </p:spPr>
        <p:txBody>
          <a:bodyPr rot="0" spcFirstLastPara="1" vertOverflow="overflow" horzOverflow="overflow" vert="horz" wrap="square" lIns="0" tIns="0" rIns="0" bIns="0" numCol="1" spcCol="38100" rtlCol="0" anchor="t">
            <a:spAutoFit/>
          </a:bodyPr>
          <a:lstStyle/>
          <a:p>
            <a:pPr marL="0" marR="0" lvl="0" indent="0" algn="ctr" defTabSz="91440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latin typeface="Open Sans"/>
                <a:ea typeface="Open Sans"/>
                <a:cs typeface="Open Sans"/>
                <a:sym typeface="Open Sans"/>
              </a:rPr>
              <a:t>NO</a:t>
            </a:r>
          </a:p>
        </p:txBody>
      </p:sp>
      <p:sp>
        <p:nvSpPr>
          <p:cNvPr id="116" name="TextBox 115">
            <a:extLst>
              <a:ext uri="{FF2B5EF4-FFF2-40B4-BE49-F238E27FC236}">
                <a16:creationId xmlns:a16="http://schemas.microsoft.com/office/drawing/2014/main" id="{A1D82F78-6B45-E4AD-D0F9-B925F741D925}"/>
              </a:ext>
            </a:extLst>
          </p:cNvPr>
          <p:cNvSpPr txBox="1"/>
          <p:nvPr/>
        </p:nvSpPr>
        <p:spPr>
          <a:xfrm>
            <a:off x="190103" y="6338402"/>
            <a:ext cx="4072587"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effectLst/>
                <a:uLnTx/>
                <a:uFillTx/>
                <a:latin typeface="Calibri" panose="020F0502020204030204"/>
              </a:rPr>
              <a:t>*List of facilities eligible for FDNY transport as of October 2023. </a:t>
            </a:r>
          </a:p>
        </p:txBody>
      </p:sp>
      <p:grpSp>
        <p:nvGrpSpPr>
          <p:cNvPr id="117" name="Group 116">
            <a:extLst>
              <a:ext uri="{FF2B5EF4-FFF2-40B4-BE49-F238E27FC236}">
                <a16:creationId xmlns:a16="http://schemas.microsoft.com/office/drawing/2014/main" id="{30968A22-F3A4-41C6-211A-31E5126527A3}"/>
              </a:ext>
            </a:extLst>
          </p:cNvPr>
          <p:cNvGrpSpPr>
            <a:grpSpLocks noChangeAspect="1"/>
          </p:cNvGrpSpPr>
          <p:nvPr/>
        </p:nvGrpSpPr>
        <p:grpSpPr>
          <a:xfrm>
            <a:off x="9843320" y="2638241"/>
            <a:ext cx="780167" cy="509120"/>
            <a:chOff x="7555315" y="3835374"/>
            <a:chExt cx="2119293" cy="1383012"/>
          </a:xfrm>
        </p:grpSpPr>
        <p:sp>
          <p:nvSpPr>
            <p:cNvPr id="118" name="Freeform 8">
              <a:extLst>
                <a:ext uri="{FF2B5EF4-FFF2-40B4-BE49-F238E27FC236}">
                  <a16:creationId xmlns:a16="http://schemas.microsoft.com/office/drawing/2014/main" id="{8401FCDC-A52D-E283-4311-E35FEBE9BDBC}"/>
                </a:ext>
              </a:extLst>
            </p:cNvPr>
            <p:cNvSpPr>
              <a:spLocks/>
            </p:cNvSpPr>
            <p:nvPr/>
          </p:nvSpPr>
          <p:spPr bwMode="auto">
            <a:xfrm>
              <a:off x="7555315" y="4880095"/>
              <a:ext cx="223869" cy="116909"/>
            </a:xfrm>
            <a:custGeom>
              <a:avLst/>
              <a:gdLst>
                <a:gd name="T0" fmla="*/ 433 w 433"/>
                <a:gd name="T1" fmla="*/ 0 h 222"/>
                <a:gd name="T2" fmla="*/ 433 w 433"/>
                <a:gd name="T3" fmla="*/ 0 h 222"/>
                <a:gd name="T4" fmla="*/ 117 w 433"/>
                <a:gd name="T5" fmla="*/ 0 h 222"/>
                <a:gd name="T6" fmla="*/ 37 w 433"/>
                <a:gd name="T7" fmla="*/ 0 h 222"/>
                <a:gd name="T8" fmla="*/ 0 w 433"/>
                <a:gd name="T9" fmla="*/ 37 h 222"/>
                <a:gd name="T10" fmla="*/ 0 w 433"/>
                <a:gd name="T11" fmla="*/ 185 h 222"/>
                <a:gd name="T12" fmla="*/ 37 w 433"/>
                <a:gd name="T13" fmla="*/ 222 h 222"/>
                <a:gd name="T14" fmla="*/ 371 w 433"/>
                <a:gd name="T15" fmla="*/ 222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3" h="222">
                  <a:moveTo>
                    <a:pt x="433" y="0"/>
                  </a:moveTo>
                  <a:lnTo>
                    <a:pt x="433" y="0"/>
                  </a:lnTo>
                  <a:lnTo>
                    <a:pt x="117" y="0"/>
                  </a:lnTo>
                  <a:lnTo>
                    <a:pt x="37" y="0"/>
                  </a:lnTo>
                  <a:cubicBezTo>
                    <a:pt x="16" y="0"/>
                    <a:pt x="0" y="17"/>
                    <a:pt x="0" y="37"/>
                  </a:cubicBezTo>
                  <a:lnTo>
                    <a:pt x="0" y="185"/>
                  </a:lnTo>
                  <a:cubicBezTo>
                    <a:pt x="0" y="206"/>
                    <a:pt x="16" y="222"/>
                    <a:pt x="37" y="222"/>
                  </a:cubicBezTo>
                  <a:lnTo>
                    <a:pt x="371" y="222"/>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19" name="Freeform 9">
              <a:extLst>
                <a:ext uri="{FF2B5EF4-FFF2-40B4-BE49-F238E27FC236}">
                  <a16:creationId xmlns:a16="http://schemas.microsoft.com/office/drawing/2014/main" id="{145DFA5C-F9AC-D8F6-A2B4-E6358113956D}"/>
                </a:ext>
              </a:extLst>
            </p:cNvPr>
            <p:cNvSpPr>
              <a:spLocks/>
            </p:cNvSpPr>
            <p:nvPr/>
          </p:nvSpPr>
          <p:spPr bwMode="auto">
            <a:xfrm>
              <a:off x="8154786" y="4880095"/>
              <a:ext cx="833290" cy="0"/>
            </a:xfrm>
            <a:custGeom>
              <a:avLst/>
              <a:gdLst>
                <a:gd name="T0" fmla="*/ 1608 w 1608"/>
                <a:gd name="T1" fmla="*/ 1608 w 1608"/>
                <a:gd name="T2" fmla="*/ 1256 w 1608"/>
                <a:gd name="T3" fmla="*/ 0 w 1608"/>
              </a:gdLst>
              <a:ahLst/>
              <a:cxnLst>
                <a:cxn ang="0">
                  <a:pos x="T0" y="0"/>
                </a:cxn>
                <a:cxn ang="0">
                  <a:pos x="T1" y="0"/>
                </a:cxn>
                <a:cxn ang="0">
                  <a:pos x="T2" y="0"/>
                </a:cxn>
                <a:cxn ang="0">
                  <a:pos x="T3" y="0"/>
                </a:cxn>
              </a:cxnLst>
              <a:rect l="0" t="0" r="r" b="b"/>
              <a:pathLst>
                <a:path w="1608">
                  <a:moveTo>
                    <a:pt x="1608" y="0"/>
                  </a:moveTo>
                  <a:lnTo>
                    <a:pt x="1608" y="0"/>
                  </a:lnTo>
                  <a:lnTo>
                    <a:pt x="1256" y="0"/>
                  </a:lnTo>
                  <a:lnTo>
                    <a:pt x="0" y="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0" name="Freeform 10">
              <a:extLst>
                <a:ext uri="{FF2B5EF4-FFF2-40B4-BE49-F238E27FC236}">
                  <a16:creationId xmlns:a16="http://schemas.microsoft.com/office/drawing/2014/main" id="{DC5E1743-7249-F3BF-7BFD-C64A655DA8E8}"/>
                </a:ext>
              </a:extLst>
            </p:cNvPr>
            <p:cNvSpPr>
              <a:spLocks/>
            </p:cNvSpPr>
            <p:nvPr/>
          </p:nvSpPr>
          <p:spPr bwMode="auto">
            <a:xfrm>
              <a:off x="9398503" y="4880095"/>
              <a:ext cx="276105" cy="116909"/>
            </a:xfrm>
            <a:custGeom>
              <a:avLst/>
              <a:gdLst>
                <a:gd name="T0" fmla="*/ 0 w 534"/>
                <a:gd name="T1" fmla="*/ 222 h 222"/>
                <a:gd name="T2" fmla="*/ 0 w 534"/>
                <a:gd name="T3" fmla="*/ 222 h 222"/>
                <a:gd name="T4" fmla="*/ 498 w 534"/>
                <a:gd name="T5" fmla="*/ 222 h 222"/>
                <a:gd name="T6" fmla="*/ 534 w 534"/>
                <a:gd name="T7" fmla="*/ 185 h 222"/>
                <a:gd name="T8" fmla="*/ 534 w 534"/>
                <a:gd name="T9" fmla="*/ 37 h 222"/>
                <a:gd name="T10" fmla="*/ 498 w 534"/>
                <a:gd name="T11" fmla="*/ 0 h 222"/>
                <a:gd name="T12" fmla="*/ 417 w 534"/>
                <a:gd name="T13" fmla="*/ 0 h 222"/>
              </a:gdLst>
              <a:ahLst/>
              <a:cxnLst>
                <a:cxn ang="0">
                  <a:pos x="T0" y="T1"/>
                </a:cxn>
                <a:cxn ang="0">
                  <a:pos x="T2" y="T3"/>
                </a:cxn>
                <a:cxn ang="0">
                  <a:pos x="T4" y="T5"/>
                </a:cxn>
                <a:cxn ang="0">
                  <a:pos x="T6" y="T7"/>
                </a:cxn>
                <a:cxn ang="0">
                  <a:pos x="T8" y="T9"/>
                </a:cxn>
                <a:cxn ang="0">
                  <a:pos x="T10" y="T11"/>
                </a:cxn>
                <a:cxn ang="0">
                  <a:pos x="T12" y="T13"/>
                </a:cxn>
              </a:cxnLst>
              <a:rect l="0" t="0" r="r" b="b"/>
              <a:pathLst>
                <a:path w="534" h="222">
                  <a:moveTo>
                    <a:pt x="0" y="222"/>
                  </a:moveTo>
                  <a:lnTo>
                    <a:pt x="0" y="222"/>
                  </a:lnTo>
                  <a:lnTo>
                    <a:pt x="498" y="222"/>
                  </a:lnTo>
                  <a:cubicBezTo>
                    <a:pt x="518" y="222"/>
                    <a:pt x="534" y="206"/>
                    <a:pt x="534" y="185"/>
                  </a:cubicBezTo>
                  <a:lnTo>
                    <a:pt x="534" y="37"/>
                  </a:lnTo>
                  <a:cubicBezTo>
                    <a:pt x="534" y="17"/>
                    <a:pt x="518" y="0"/>
                    <a:pt x="498" y="0"/>
                  </a:cubicBezTo>
                  <a:lnTo>
                    <a:pt x="417" y="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1" name="Freeform 11">
              <a:extLst>
                <a:ext uri="{FF2B5EF4-FFF2-40B4-BE49-F238E27FC236}">
                  <a16:creationId xmlns:a16="http://schemas.microsoft.com/office/drawing/2014/main" id="{10436F51-67BA-F1FA-7F34-DD77AE75287B}"/>
                </a:ext>
              </a:extLst>
            </p:cNvPr>
            <p:cNvSpPr>
              <a:spLocks/>
            </p:cNvSpPr>
            <p:nvPr/>
          </p:nvSpPr>
          <p:spPr bwMode="auto">
            <a:xfrm>
              <a:off x="8187123" y="4997004"/>
              <a:ext cx="768617" cy="0"/>
            </a:xfrm>
            <a:custGeom>
              <a:avLst/>
              <a:gdLst>
                <a:gd name="T0" fmla="*/ 1484 w 1484"/>
                <a:gd name="T1" fmla="*/ 1484 w 1484"/>
                <a:gd name="T2" fmla="*/ 0 w 1484"/>
              </a:gdLst>
              <a:ahLst/>
              <a:cxnLst>
                <a:cxn ang="0">
                  <a:pos x="T0" y="0"/>
                </a:cxn>
                <a:cxn ang="0">
                  <a:pos x="T1" y="0"/>
                </a:cxn>
                <a:cxn ang="0">
                  <a:pos x="T2" y="0"/>
                </a:cxn>
              </a:cxnLst>
              <a:rect l="0" t="0" r="r" b="b"/>
              <a:pathLst>
                <a:path w="1484">
                  <a:moveTo>
                    <a:pt x="1484" y="0"/>
                  </a:moveTo>
                  <a:lnTo>
                    <a:pt x="1484" y="0"/>
                  </a:lnTo>
                  <a:lnTo>
                    <a:pt x="0" y="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2" name="Freeform 12">
              <a:extLst>
                <a:ext uri="{FF2B5EF4-FFF2-40B4-BE49-F238E27FC236}">
                  <a16:creationId xmlns:a16="http://schemas.microsoft.com/office/drawing/2014/main" id="{85B2C909-1652-BFBB-02DF-DD9BE9FE3EC3}"/>
                </a:ext>
              </a:extLst>
            </p:cNvPr>
            <p:cNvSpPr>
              <a:spLocks/>
            </p:cNvSpPr>
            <p:nvPr/>
          </p:nvSpPr>
          <p:spPr bwMode="auto">
            <a:xfrm>
              <a:off x="8806494" y="4046806"/>
              <a:ext cx="808416" cy="833289"/>
            </a:xfrm>
            <a:custGeom>
              <a:avLst/>
              <a:gdLst>
                <a:gd name="T0" fmla="*/ 1089 w 1560"/>
                <a:gd name="T1" fmla="*/ 1606 h 1606"/>
                <a:gd name="T2" fmla="*/ 1089 w 1560"/>
                <a:gd name="T3" fmla="*/ 1606 h 1606"/>
                <a:gd name="T4" fmla="*/ 1560 w 1560"/>
                <a:gd name="T5" fmla="*/ 1606 h 1606"/>
                <a:gd name="T6" fmla="*/ 1560 w 1560"/>
                <a:gd name="T7" fmla="*/ 1511 h 1606"/>
                <a:gd name="T8" fmla="*/ 1450 w 1560"/>
                <a:gd name="T9" fmla="*/ 956 h 1606"/>
                <a:gd name="T10" fmla="*/ 672 w 1560"/>
                <a:gd name="T11" fmla="*/ 0 h 1606"/>
                <a:gd name="T12" fmla="*/ 0 w 1560"/>
                <a:gd name="T13" fmla="*/ 0 h 1606"/>
                <a:gd name="T14" fmla="*/ 0 w 1560"/>
                <a:gd name="T15" fmla="*/ 1606 h 1606"/>
                <a:gd name="T16" fmla="*/ 335 w 1560"/>
                <a:gd name="T17" fmla="*/ 1606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0" h="1606">
                  <a:moveTo>
                    <a:pt x="1089" y="1606"/>
                  </a:moveTo>
                  <a:lnTo>
                    <a:pt x="1089" y="1606"/>
                  </a:lnTo>
                  <a:lnTo>
                    <a:pt x="1560" y="1606"/>
                  </a:lnTo>
                  <a:lnTo>
                    <a:pt x="1560" y="1511"/>
                  </a:lnTo>
                  <a:cubicBezTo>
                    <a:pt x="1560" y="1190"/>
                    <a:pt x="1519" y="1117"/>
                    <a:pt x="1450" y="956"/>
                  </a:cubicBezTo>
                  <a:cubicBezTo>
                    <a:pt x="1292" y="593"/>
                    <a:pt x="1025" y="0"/>
                    <a:pt x="672" y="0"/>
                  </a:cubicBezTo>
                  <a:lnTo>
                    <a:pt x="0" y="0"/>
                  </a:lnTo>
                  <a:lnTo>
                    <a:pt x="0" y="1606"/>
                  </a:lnTo>
                  <a:lnTo>
                    <a:pt x="335" y="1606"/>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3" name="Freeform 13">
              <a:extLst>
                <a:ext uri="{FF2B5EF4-FFF2-40B4-BE49-F238E27FC236}">
                  <a16:creationId xmlns:a16="http://schemas.microsoft.com/office/drawing/2014/main" id="{F38C6E34-38B8-189A-2331-697A2785A037}"/>
                </a:ext>
              </a:extLst>
            </p:cNvPr>
            <p:cNvSpPr>
              <a:spLocks/>
            </p:cNvSpPr>
            <p:nvPr/>
          </p:nvSpPr>
          <p:spPr bwMode="auto">
            <a:xfrm>
              <a:off x="7615013" y="3835374"/>
              <a:ext cx="1191480" cy="1044721"/>
            </a:xfrm>
            <a:custGeom>
              <a:avLst/>
              <a:gdLst>
                <a:gd name="T0" fmla="*/ 317 w 2301"/>
                <a:gd name="T1" fmla="*/ 2013 h 2013"/>
                <a:gd name="T2" fmla="*/ 317 w 2301"/>
                <a:gd name="T3" fmla="*/ 2013 h 2013"/>
                <a:gd name="T4" fmla="*/ 0 w 2301"/>
                <a:gd name="T5" fmla="*/ 2013 h 2013"/>
                <a:gd name="T6" fmla="*/ 0 w 2301"/>
                <a:gd name="T7" fmla="*/ 0 h 2013"/>
                <a:gd name="T8" fmla="*/ 2301 w 2301"/>
                <a:gd name="T9" fmla="*/ 0 h 2013"/>
                <a:gd name="T10" fmla="*/ 2301 w 2301"/>
                <a:gd name="T11" fmla="*/ 2013 h 2013"/>
                <a:gd name="T12" fmla="*/ 1016 w 2301"/>
                <a:gd name="T13" fmla="*/ 2013 h 2013"/>
              </a:gdLst>
              <a:ahLst/>
              <a:cxnLst>
                <a:cxn ang="0">
                  <a:pos x="T0" y="T1"/>
                </a:cxn>
                <a:cxn ang="0">
                  <a:pos x="T2" y="T3"/>
                </a:cxn>
                <a:cxn ang="0">
                  <a:pos x="T4" y="T5"/>
                </a:cxn>
                <a:cxn ang="0">
                  <a:pos x="T6" y="T7"/>
                </a:cxn>
                <a:cxn ang="0">
                  <a:pos x="T8" y="T9"/>
                </a:cxn>
                <a:cxn ang="0">
                  <a:pos x="T10" y="T11"/>
                </a:cxn>
                <a:cxn ang="0">
                  <a:pos x="T12" y="T13"/>
                </a:cxn>
              </a:cxnLst>
              <a:rect l="0" t="0" r="r" b="b"/>
              <a:pathLst>
                <a:path w="2301" h="2013">
                  <a:moveTo>
                    <a:pt x="317" y="2013"/>
                  </a:moveTo>
                  <a:lnTo>
                    <a:pt x="317" y="2013"/>
                  </a:lnTo>
                  <a:lnTo>
                    <a:pt x="0" y="2013"/>
                  </a:lnTo>
                  <a:lnTo>
                    <a:pt x="0" y="0"/>
                  </a:lnTo>
                  <a:lnTo>
                    <a:pt x="2301" y="0"/>
                  </a:lnTo>
                  <a:lnTo>
                    <a:pt x="2301" y="2013"/>
                  </a:lnTo>
                  <a:lnTo>
                    <a:pt x="1016" y="2013"/>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4" name="Freeform 15">
              <a:extLst>
                <a:ext uri="{FF2B5EF4-FFF2-40B4-BE49-F238E27FC236}">
                  <a16:creationId xmlns:a16="http://schemas.microsoft.com/office/drawing/2014/main" id="{F4B72639-BDB2-5F92-11C0-4D85E175117B}"/>
                </a:ext>
              </a:extLst>
            </p:cNvPr>
            <p:cNvSpPr>
              <a:spLocks/>
            </p:cNvSpPr>
            <p:nvPr/>
          </p:nvSpPr>
          <p:spPr bwMode="auto">
            <a:xfrm>
              <a:off x="7629938" y="4559217"/>
              <a:ext cx="930300" cy="213919"/>
            </a:xfrm>
            <a:custGeom>
              <a:avLst/>
              <a:gdLst>
                <a:gd name="T0" fmla="*/ 0 w 1797"/>
                <a:gd name="T1" fmla="*/ 304 h 411"/>
                <a:gd name="T2" fmla="*/ 0 w 1797"/>
                <a:gd name="T3" fmla="*/ 304 h 411"/>
                <a:gd name="T4" fmla="*/ 1553 w 1797"/>
                <a:gd name="T5" fmla="*/ 304 h 411"/>
                <a:gd name="T6" fmla="*/ 1558 w 1797"/>
                <a:gd name="T7" fmla="*/ 301 h 411"/>
                <a:gd name="T8" fmla="*/ 1558 w 1797"/>
                <a:gd name="T9" fmla="*/ 411 h 411"/>
                <a:gd name="T10" fmla="*/ 1797 w 1797"/>
                <a:gd name="T11" fmla="*/ 205 h 411"/>
                <a:gd name="T12" fmla="*/ 1558 w 1797"/>
                <a:gd name="T13" fmla="*/ 0 h 411"/>
                <a:gd name="T14" fmla="*/ 1558 w 1797"/>
                <a:gd name="T15" fmla="*/ 110 h 411"/>
                <a:gd name="T16" fmla="*/ 1553 w 1797"/>
                <a:gd name="T17" fmla="*/ 107 h 411"/>
                <a:gd name="T18" fmla="*/ 0 w 1797"/>
                <a:gd name="T19" fmla="*/ 107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7" h="411">
                  <a:moveTo>
                    <a:pt x="0" y="304"/>
                  </a:moveTo>
                  <a:lnTo>
                    <a:pt x="0" y="304"/>
                  </a:lnTo>
                  <a:lnTo>
                    <a:pt x="1553" y="304"/>
                  </a:lnTo>
                  <a:lnTo>
                    <a:pt x="1558" y="301"/>
                  </a:lnTo>
                  <a:lnTo>
                    <a:pt x="1558" y="411"/>
                  </a:lnTo>
                  <a:lnTo>
                    <a:pt x="1797" y="205"/>
                  </a:lnTo>
                  <a:lnTo>
                    <a:pt x="1558" y="0"/>
                  </a:lnTo>
                  <a:lnTo>
                    <a:pt x="1558" y="110"/>
                  </a:lnTo>
                  <a:lnTo>
                    <a:pt x="1553" y="107"/>
                  </a:lnTo>
                  <a:lnTo>
                    <a:pt x="0" y="107"/>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5" name="Freeform 16">
              <a:extLst>
                <a:ext uri="{FF2B5EF4-FFF2-40B4-BE49-F238E27FC236}">
                  <a16:creationId xmlns:a16="http://schemas.microsoft.com/office/drawing/2014/main" id="{DAB1CC0F-4EF1-DAE1-35F0-22B52F0B11CC}"/>
                </a:ext>
              </a:extLst>
            </p:cNvPr>
            <p:cNvSpPr>
              <a:spLocks/>
            </p:cNvSpPr>
            <p:nvPr/>
          </p:nvSpPr>
          <p:spPr bwMode="auto">
            <a:xfrm>
              <a:off x="8955740" y="4161228"/>
              <a:ext cx="467637" cy="378090"/>
            </a:xfrm>
            <a:custGeom>
              <a:avLst/>
              <a:gdLst>
                <a:gd name="T0" fmla="*/ 0 w 900"/>
                <a:gd name="T1" fmla="*/ 0 h 726"/>
                <a:gd name="T2" fmla="*/ 0 w 900"/>
                <a:gd name="T3" fmla="*/ 0 h 726"/>
                <a:gd name="T4" fmla="*/ 0 w 900"/>
                <a:gd name="T5" fmla="*/ 726 h 726"/>
                <a:gd name="T6" fmla="*/ 900 w 900"/>
                <a:gd name="T7" fmla="*/ 726 h 726"/>
                <a:gd name="T8" fmla="*/ 333 w 900"/>
                <a:gd name="T9" fmla="*/ 0 h 726"/>
                <a:gd name="T10" fmla="*/ 0 w 900"/>
                <a:gd name="T11" fmla="*/ 0 h 726"/>
                <a:gd name="T12" fmla="*/ 0 w 900"/>
                <a:gd name="T13" fmla="*/ 0 h 726"/>
              </a:gdLst>
              <a:ahLst/>
              <a:cxnLst>
                <a:cxn ang="0">
                  <a:pos x="T0" y="T1"/>
                </a:cxn>
                <a:cxn ang="0">
                  <a:pos x="T2" y="T3"/>
                </a:cxn>
                <a:cxn ang="0">
                  <a:pos x="T4" y="T5"/>
                </a:cxn>
                <a:cxn ang="0">
                  <a:pos x="T6" y="T7"/>
                </a:cxn>
                <a:cxn ang="0">
                  <a:pos x="T8" y="T9"/>
                </a:cxn>
                <a:cxn ang="0">
                  <a:pos x="T10" y="T11"/>
                </a:cxn>
                <a:cxn ang="0">
                  <a:pos x="T12" y="T13"/>
                </a:cxn>
              </a:cxnLst>
              <a:rect l="0" t="0" r="r" b="b"/>
              <a:pathLst>
                <a:path w="900" h="726">
                  <a:moveTo>
                    <a:pt x="0" y="0"/>
                  </a:moveTo>
                  <a:lnTo>
                    <a:pt x="0" y="0"/>
                  </a:lnTo>
                  <a:lnTo>
                    <a:pt x="0" y="726"/>
                  </a:lnTo>
                  <a:lnTo>
                    <a:pt x="900" y="726"/>
                  </a:lnTo>
                  <a:cubicBezTo>
                    <a:pt x="900" y="726"/>
                    <a:pt x="666" y="0"/>
                    <a:pt x="333" y="0"/>
                  </a:cubicBezTo>
                  <a:lnTo>
                    <a:pt x="0" y="0"/>
                  </a:lnTo>
                  <a:lnTo>
                    <a:pt x="0" y="0"/>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6" name="Freeform 17">
              <a:extLst>
                <a:ext uri="{FF2B5EF4-FFF2-40B4-BE49-F238E27FC236}">
                  <a16:creationId xmlns:a16="http://schemas.microsoft.com/office/drawing/2014/main" id="{E95D2D8E-0CF5-ED39-BA60-6576C3E06428}"/>
                </a:ext>
              </a:extLst>
            </p:cNvPr>
            <p:cNvSpPr>
              <a:spLocks/>
            </p:cNvSpPr>
            <p:nvPr/>
          </p:nvSpPr>
          <p:spPr bwMode="auto">
            <a:xfrm>
              <a:off x="8955740" y="4775623"/>
              <a:ext cx="442763" cy="442763"/>
            </a:xfrm>
            <a:custGeom>
              <a:avLst/>
              <a:gdLst>
                <a:gd name="T0" fmla="*/ 0 w 853"/>
                <a:gd name="T1" fmla="*/ 426 h 853"/>
                <a:gd name="T2" fmla="*/ 0 w 853"/>
                <a:gd name="T3" fmla="*/ 426 h 853"/>
                <a:gd name="T4" fmla="*/ 426 w 853"/>
                <a:gd name="T5" fmla="*/ 0 h 853"/>
                <a:gd name="T6" fmla="*/ 853 w 853"/>
                <a:gd name="T7" fmla="*/ 426 h 853"/>
                <a:gd name="T8" fmla="*/ 426 w 853"/>
                <a:gd name="T9" fmla="*/ 853 h 853"/>
                <a:gd name="T10" fmla="*/ 0 w 853"/>
                <a:gd name="T11" fmla="*/ 426 h 853"/>
                <a:gd name="T12" fmla="*/ 0 w 853"/>
                <a:gd name="T13" fmla="*/ 426 h 853"/>
              </a:gdLst>
              <a:ahLst/>
              <a:cxnLst>
                <a:cxn ang="0">
                  <a:pos x="T0" y="T1"/>
                </a:cxn>
                <a:cxn ang="0">
                  <a:pos x="T2" y="T3"/>
                </a:cxn>
                <a:cxn ang="0">
                  <a:pos x="T4" y="T5"/>
                </a:cxn>
                <a:cxn ang="0">
                  <a:pos x="T6" y="T7"/>
                </a:cxn>
                <a:cxn ang="0">
                  <a:pos x="T8" y="T9"/>
                </a:cxn>
                <a:cxn ang="0">
                  <a:pos x="T10" y="T11"/>
                </a:cxn>
                <a:cxn ang="0">
                  <a:pos x="T12" y="T13"/>
                </a:cxn>
              </a:cxnLst>
              <a:rect l="0" t="0" r="r" b="b"/>
              <a:pathLst>
                <a:path w="853" h="853">
                  <a:moveTo>
                    <a:pt x="0" y="426"/>
                  </a:moveTo>
                  <a:lnTo>
                    <a:pt x="0" y="426"/>
                  </a:lnTo>
                  <a:cubicBezTo>
                    <a:pt x="0" y="191"/>
                    <a:pt x="191" y="0"/>
                    <a:pt x="426" y="0"/>
                  </a:cubicBezTo>
                  <a:cubicBezTo>
                    <a:pt x="662" y="0"/>
                    <a:pt x="853" y="191"/>
                    <a:pt x="853" y="426"/>
                  </a:cubicBezTo>
                  <a:cubicBezTo>
                    <a:pt x="853" y="662"/>
                    <a:pt x="662" y="853"/>
                    <a:pt x="426" y="853"/>
                  </a:cubicBezTo>
                  <a:cubicBezTo>
                    <a:pt x="191" y="853"/>
                    <a:pt x="0" y="662"/>
                    <a:pt x="0" y="426"/>
                  </a:cubicBezTo>
                  <a:lnTo>
                    <a:pt x="0" y="426"/>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7" name="Freeform 18">
              <a:extLst>
                <a:ext uri="{FF2B5EF4-FFF2-40B4-BE49-F238E27FC236}">
                  <a16:creationId xmlns:a16="http://schemas.microsoft.com/office/drawing/2014/main" id="{BD53F37E-8D82-A38F-A34F-787E007B7549}"/>
                </a:ext>
              </a:extLst>
            </p:cNvPr>
            <p:cNvSpPr>
              <a:spLocks/>
            </p:cNvSpPr>
            <p:nvPr/>
          </p:nvSpPr>
          <p:spPr bwMode="auto">
            <a:xfrm>
              <a:off x="9045287" y="4862683"/>
              <a:ext cx="266155" cy="268643"/>
            </a:xfrm>
            <a:custGeom>
              <a:avLst/>
              <a:gdLst>
                <a:gd name="T0" fmla="*/ 0 w 514"/>
                <a:gd name="T1" fmla="*/ 257 h 514"/>
                <a:gd name="T2" fmla="*/ 0 w 514"/>
                <a:gd name="T3" fmla="*/ 257 h 514"/>
                <a:gd name="T4" fmla="*/ 257 w 514"/>
                <a:gd name="T5" fmla="*/ 0 h 514"/>
                <a:gd name="T6" fmla="*/ 514 w 514"/>
                <a:gd name="T7" fmla="*/ 257 h 514"/>
                <a:gd name="T8" fmla="*/ 257 w 514"/>
                <a:gd name="T9" fmla="*/ 514 h 514"/>
                <a:gd name="T10" fmla="*/ 0 w 514"/>
                <a:gd name="T11" fmla="*/ 257 h 514"/>
                <a:gd name="T12" fmla="*/ 0 w 514"/>
                <a:gd name="T13" fmla="*/ 257 h 514"/>
              </a:gdLst>
              <a:ahLst/>
              <a:cxnLst>
                <a:cxn ang="0">
                  <a:pos x="T0" y="T1"/>
                </a:cxn>
                <a:cxn ang="0">
                  <a:pos x="T2" y="T3"/>
                </a:cxn>
                <a:cxn ang="0">
                  <a:pos x="T4" y="T5"/>
                </a:cxn>
                <a:cxn ang="0">
                  <a:pos x="T6" y="T7"/>
                </a:cxn>
                <a:cxn ang="0">
                  <a:pos x="T8" y="T9"/>
                </a:cxn>
                <a:cxn ang="0">
                  <a:pos x="T10" y="T11"/>
                </a:cxn>
                <a:cxn ang="0">
                  <a:pos x="T12" y="T13"/>
                </a:cxn>
              </a:cxnLst>
              <a:rect l="0" t="0" r="r" b="b"/>
              <a:pathLst>
                <a:path w="514" h="514">
                  <a:moveTo>
                    <a:pt x="0" y="257"/>
                  </a:moveTo>
                  <a:lnTo>
                    <a:pt x="0" y="257"/>
                  </a:lnTo>
                  <a:cubicBezTo>
                    <a:pt x="0" y="115"/>
                    <a:pt x="115" y="0"/>
                    <a:pt x="257" y="0"/>
                  </a:cubicBezTo>
                  <a:cubicBezTo>
                    <a:pt x="399" y="0"/>
                    <a:pt x="514" y="115"/>
                    <a:pt x="514" y="257"/>
                  </a:cubicBezTo>
                  <a:cubicBezTo>
                    <a:pt x="514" y="399"/>
                    <a:pt x="399" y="514"/>
                    <a:pt x="257" y="514"/>
                  </a:cubicBezTo>
                  <a:cubicBezTo>
                    <a:pt x="115" y="514"/>
                    <a:pt x="0" y="399"/>
                    <a:pt x="0" y="257"/>
                  </a:cubicBezTo>
                  <a:lnTo>
                    <a:pt x="0" y="257"/>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8" name="Freeform 19">
              <a:extLst>
                <a:ext uri="{FF2B5EF4-FFF2-40B4-BE49-F238E27FC236}">
                  <a16:creationId xmlns:a16="http://schemas.microsoft.com/office/drawing/2014/main" id="{17DCE917-CCAB-36EE-5D49-939D5D42CEC3}"/>
                </a:ext>
              </a:extLst>
            </p:cNvPr>
            <p:cNvSpPr>
              <a:spLocks/>
            </p:cNvSpPr>
            <p:nvPr/>
          </p:nvSpPr>
          <p:spPr bwMode="auto">
            <a:xfrm>
              <a:off x="9147272" y="4967155"/>
              <a:ext cx="59698" cy="59698"/>
            </a:xfrm>
            <a:custGeom>
              <a:avLst/>
              <a:gdLst>
                <a:gd name="T0" fmla="*/ 112 w 112"/>
                <a:gd name="T1" fmla="*/ 56 h 112"/>
                <a:gd name="T2" fmla="*/ 112 w 112"/>
                <a:gd name="T3" fmla="*/ 56 h 112"/>
                <a:gd name="T4" fmla="*/ 56 w 112"/>
                <a:gd name="T5" fmla="*/ 112 h 112"/>
                <a:gd name="T6" fmla="*/ 0 w 112"/>
                <a:gd name="T7" fmla="*/ 56 h 112"/>
                <a:gd name="T8" fmla="*/ 56 w 112"/>
                <a:gd name="T9" fmla="*/ 0 h 112"/>
                <a:gd name="T10" fmla="*/ 112 w 112"/>
                <a:gd name="T11" fmla="*/ 56 h 112"/>
                <a:gd name="T12" fmla="*/ 112 w 112"/>
                <a:gd name="T13" fmla="*/ 56 h 112"/>
              </a:gdLst>
              <a:ahLst/>
              <a:cxnLst>
                <a:cxn ang="0">
                  <a:pos x="T0" y="T1"/>
                </a:cxn>
                <a:cxn ang="0">
                  <a:pos x="T2" y="T3"/>
                </a:cxn>
                <a:cxn ang="0">
                  <a:pos x="T4" y="T5"/>
                </a:cxn>
                <a:cxn ang="0">
                  <a:pos x="T6" y="T7"/>
                </a:cxn>
                <a:cxn ang="0">
                  <a:pos x="T8" y="T9"/>
                </a:cxn>
                <a:cxn ang="0">
                  <a:pos x="T10" y="T11"/>
                </a:cxn>
                <a:cxn ang="0">
                  <a:pos x="T12" y="T13"/>
                </a:cxn>
              </a:cxnLst>
              <a:rect l="0" t="0" r="r" b="b"/>
              <a:pathLst>
                <a:path w="112" h="112">
                  <a:moveTo>
                    <a:pt x="112" y="56"/>
                  </a:moveTo>
                  <a:lnTo>
                    <a:pt x="112" y="56"/>
                  </a:lnTo>
                  <a:cubicBezTo>
                    <a:pt x="112" y="87"/>
                    <a:pt x="87" y="112"/>
                    <a:pt x="56" y="112"/>
                  </a:cubicBezTo>
                  <a:cubicBezTo>
                    <a:pt x="25" y="112"/>
                    <a:pt x="0" y="87"/>
                    <a:pt x="0" y="56"/>
                  </a:cubicBezTo>
                  <a:cubicBezTo>
                    <a:pt x="0" y="25"/>
                    <a:pt x="25" y="0"/>
                    <a:pt x="56" y="0"/>
                  </a:cubicBezTo>
                  <a:cubicBezTo>
                    <a:pt x="87" y="0"/>
                    <a:pt x="112" y="25"/>
                    <a:pt x="112" y="56"/>
                  </a:cubicBezTo>
                  <a:lnTo>
                    <a:pt x="112" y="56"/>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29" name="Freeform 20">
              <a:extLst>
                <a:ext uri="{FF2B5EF4-FFF2-40B4-BE49-F238E27FC236}">
                  <a16:creationId xmlns:a16="http://schemas.microsoft.com/office/drawing/2014/main" id="{5EB9B22F-AC87-9089-8363-ED71943A6FD1}"/>
                </a:ext>
              </a:extLst>
            </p:cNvPr>
            <p:cNvSpPr>
              <a:spLocks/>
            </p:cNvSpPr>
            <p:nvPr/>
          </p:nvSpPr>
          <p:spPr bwMode="auto">
            <a:xfrm>
              <a:off x="7746847" y="4775623"/>
              <a:ext cx="440276" cy="442763"/>
            </a:xfrm>
            <a:custGeom>
              <a:avLst/>
              <a:gdLst>
                <a:gd name="T0" fmla="*/ 0 w 853"/>
                <a:gd name="T1" fmla="*/ 426 h 853"/>
                <a:gd name="T2" fmla="*/ 0 w 853"/>
                <a:gd name="T3" fmla="*/ 426 h 853"/>
                <a:gd name="T4" fmla="*/ 426 w 853"/>
                <a:gd name="T5" fmla="*/ 0 h 853"/>
                <a:gd name="T6" fmla="*/ 853 w 853"/>
                <a:gd name="T7" fmla="*/ 426 h 853"/>
                <a:gd name="T8" fmla="*/ 426 w 853"/>
                <a:gd name="T9" fmla="*/ 853 h 853"/>
                <a:gd name="T10" fmla="*/ 0 w 853"/>
                <a:gd name="T11" fmla="*/ 426 h 853"/>
                <a:gd name="T12" fmla="*/ 0 w 853"/>
                <a:gd name="T13" fmla="*/ 426 h 853"/>
              </a:gdLst>
              <a:ahLst/>
              <a:cxnLst>
                <a:cxn ang="0">
                  <a:pos x="T0" y="T1"/>
                </a:cxn>
                <a:cxn ang="0">
                  <a:pos x="T2" y="T3"/>
                </a:cxn>
                <a:cxn ang="0">
                  <a:pos x="T4" y="T5"/>
                </a:cxn>
                <a:cxn ang="0">
                  <a:pos x="T6" y="T7"/>
                </a:cxn>
                <a:cxn ang="0">
                  <a:pos x="T8" y="T9"/>
                </a:cxn>
                <a:cxn ang="0">
                  <a:pos x="T10" y="T11"/>
                </a:cxn>
                <a:cxn ang="0">
                  <a:pos x="T12" y="T13"/>
                </a:cxn>
              </a:cxnLst>
              <a:rect l="0" t="0" r="r" b="b"/>
              <a:pathLst>
                <a:path w="853" h="853">
                  <a:moveTo>
                    <a:pt x="0" y="426"/>
                  </a:moveTo>
                  <a:lnTo>
                    <a:pt x="0" y="426"/>
                  </a:lnTo>
                  <a:cubicBezTo>
                    <a:pt x="0" y="191"/>
                    <a:pt x="191" y="0"/>
                    <a:pt x="426" y="0"/>
                  </a:cubicBezTo>
                  <a:cubicBezTo>
                    <a:pt x="662" y="0"/>
                    <a:pt x="853" y="191"/>
                    <a:pt x="853" y="426"/>
                  </a:cubicBezTo>
                  <a:cubicBezTo>
                    <a:pt x="853" y="662"/>
                    <a:pt x="662" y="853"/>
                    <a:pt x="426" y="853"/>
                  </a:cubicBezTo>
                  <a:cubicBezTo>
                    <a:pt x="191" y="853"/>
                    <a:pt x="0" y="662"/>
                    <a:pt x="0" y="426"/>
                  </a:cubicBezTo>
                  <a:lnTo>
                    <a:pt x="0" y="426"/>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30" name="Freeform 21">
              <a:extLst>
                <a:ext uri="{FF2B5EF4-FFF2-40B4-BE49-F238E27FC236}">
                  <a16:creationId xmlns:a16="http://schemas.microsoft.com/office/drawing/2014/main" id="{E5456598-D5F3-9FEC-E97A-D1F633AA0511}"/>
                </a:ext>
              </a:extLst>
            </p:cNvPr>
            <p:cNvSpPr>
              <a:spLocks/>
            </p:cNvSpPr>
            <p:nvPr/>
          </p:nvSpPr>
          <p:spPr bwMode="auto">
            <a:xfrm>
              <a:off x="7833908" y="4862683"/>
              <a:ext cx="266155" cy="268643"/>
            </a:xfrm>
            <a:custGeom>
              <a:avLst/>
              <a:gdLst>
                <a:gd name="T0" fmla="*/ 0 w 515"/>
                <a:gd name="T1" fmla="*/ 257 h 514"/>
                <a:gd name="T2" fmla="*/ 0 w 515"/>
                <a:gd name="T3" fmla="*/ 257 h 514"/>
                <a:gd name="T4" fmla="*/ 257 w 515"/>
                <a:gd name="T5" fmla="*/ 0 h 514"/>
                <a:gd name="T6" fmla="*/ 515 w 515"/>
                <a:gd name="T7" fmla="*/ 257 h 514"/>
                <a:gd name="T8" fmla="*/ 257 w 515"/>
                <a:gd name="T9" fmla="*/ 514 h 514"/>
                <a:gd name="T10" fmla="*/ 0 w 515"/>
                <a:gd name="T11" fmla="*/ 257 h 514"/>
                <a:gd name="T12" fmla="*/ 0 w 515"/>
                <a:gd name="T13" fmla="*/ 257 h 514"/>
              </a:gdLst>
              <a:ahLst/>
              <a:cxnLst>
                <a:cxn ang="0">
                  <a:pos x="T0" y="T1"/>
                </a:cxn>
                <a:cxn ang="0">
                  <a:pos x="T2" y="T3"/>
                </a:cxn>
                <a:cxn ang="0">
                  <a:pos x="T4" y="T5"/>
                </a:cxn>
                <a:cxn ang="0">
                  <a:pos x="T6" y="T7"/>
                </a:cxn>
                <a:cxn ang="0">
                  <a:pos x="T8" y="T9"/>
                </a:cxn>
                <a:cxn ang="0">
                  <a:pos x="T10" y="T11"/>
                </a:cxn>
                <a:cxn ang="0">
                  <a:pos x="T12" y="T13"/>
                </a:cxn>
              </a:cxnLst>
              <a:rect l="0" t="0" r="r" b="b"/>
              <a:pathLst>
                <a:path w="515" h="514">
                  <a:moveTo>
                    <a:pt x="0" y="257"/>
                  </a:moveTo>
                  <a:lnTo>
                    <a:pt x="0" y="257"/>
                  </a:lnTo>
                  <a:cubicBezTo>
                    <a:pt x="0" y="115"/>
                    <a:pt x="116" y="0"/>
                    <a:pt x="257" y="0"/>
                  </a:cubicBezTo>
                  <a:cubicBezTo>
                    <a:pt x="400" y="0"/>
                    <a:pt x="515" y="115"/>
                    <a:pt x="515" y="257"/>
                  </a:cubicBezTo>
                  <a:cubicBezTo>
                    <a:pt x="515" y="399"/>
                    <a:pt x="400" y="514"/>
                    <a:pt x="257" y="514"/>
                  </a:cubicBezTo>
                  <a:cubicBezTo>
                    <a:pt x="116" y="514"/>
                    <a:pt x="0" y="399"/>
                    <a:pt x="0" y="257"/>
                  </a:cubicBezTo>
                  <a:lnTo>
                    <a:pt x="0" y="257"/>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31" name="Freeform 22">
              <a:extLst>
                <a:ext uri="{FF2B5EF4-FFF2-40B4-BE49-F238E27FC236}">
                  <a16:creationId xmlns:a16="http://schemas.microsoft.com/office/drawing/2014/main" id="{911D7FB4-DCD0-96EB-9604-EC60F0871E54}"/>
                </a:ext>
              </a:extLst>
            </p:cNvPr>
            <p:cNvSpPr>
              <a:spLocks/>
            </p:cNvSpPr>
            <p:nvPr/>
          </p:nvSpPr>
          <p:spPr bwMode="auto">
            <a:xfrm>
              <a:off x="7938380" y="4967155"/>
              <a:ext cx="57211" cy="59698"/>
            </a:xfrm>
            <a:custGeom>
              <a:avLst/>
              <a:gdLst>
                <a:gd name="T0" fmla="*/ 111 w 111"/>
                <a:gd name="T1" fmla="*/ 56 h 112"/>
                <a:gd name="T2" fmla="*/ 111 w 111"/>
                <a:gd name="T3" fmla="*/ 56 h 112"/>
                <a:gd name="T4" fmla="*/ 55 w 111"/>
                <a:gd name="T5" fmla="*/ 112 h 112"/>
                <a:gd name="T6" fmla="*/ 0 w 111"/>
                <a:gd name="T7" fmla="*/ 56 h 112"/>
                <a:gd name="T8" fmla="*/ 55 w 111"/>
                <a:gd name="T9" fmla="*/ 0 h 112"/>
                <a:gd name="T10" fmla="*/ 111 w 111"/>
                <a:gd name="T11" fmla="*/ 56 h 112"/>
                <a:gd name="T12" fmla="*/ 111 w 111"/>
                <a:gd name="T13" fmla="*/ 56 h 112"/>
              </a:gdLst>
              <a:ahLst/>
              <a:cxnLst>
                <a:cxn ang="0">
                  <a:pos x="T0" y="T1"/>
                </a:cxn>
                <a:cxn ang="0">
                  <a:pos x="T2" y="T3"/>
                </a:cxn>
                <a:cxn ang="0">
                  <a:pos x="T4" y="T5"/>
                </a:cxn>
                <a:cxn ang="0">
                  <a:pos x="T6" y="T7"/>
                </a:cxn>
                <a:cxn ang="0">
                  <a:pos x="T8" y="T9"/>
                </a:cxn>
                <a:cxn ang="0">
                  <a:pos x="T10" y="T11"/>
                </a:cxn>
                <a:cxn ang="0">
                  <a:pos x="T12" y="T13"/>
                </a:cxn>
              </a:cxnLst>
              <a:rect l="0" t="0" r="r" b="b"/>
              <a:pathLst>
                <a:path w="111" h="112">
                  <a:moveTo>
                    <a:pt x="111" y="56"/>
                  </a:moveTo>
                  <a:lnTo>
                    <a:pt x="111" y="56"/>
                  </a:lnTo>
                  <a:cubicBezTo>
                    <a:pt x="111" y="87"/>
                    <a:pt x="86" y="112"/>
                    <a:pt x="55" y="112"/>
                  </a:cubicBezTo>
                  <a:cubicBezTo>
                    <a:pt x="25" y="112"/>
                    <a:pt x="0" y="87"/>
                    <a:pt x="0" y="56"/>
                  </a:cubicBezTo>
                  <a:cubicBezTo>
                    <a:pt x="0" y="25"/>
                    <a:pt x="25" y="0"/>
                    <a:pt x="55" y="0"/>
                  </a:cubicBezTo>
                  <a:cubicBezTo>
                    <a:pt x="86" y="0"/>
                    <a:pt x="111" y="25"/>
                    <a:pt x="111" y="56"/>
                  </a:cubicBezTo>
                  <a:lnTo>
                    <a:pt x="111" y="56"/>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32" name="Freeform 23">
              <a:extLst>
                <a:ext uri="{FF2B5EF4-FFF2-40B4-BE49-F238E27FC236}">
                  <a16:creationId xmlns:a16="http://schemas.microsoft.com/office/drawing/2014/main" id="{401DF6D7-6521-3510-696D-9C0EB7923E68}"/>
                </a:ext>
              </a:extLst>
            </p:cNvPr>
            <p:cNvSpPr>
              <a:spLocks/>
            </p:cNvSpPr>
            <p:nvPr/>
          </p:nvSpPr>
          <p:spPr bwMode="auto">
            <a:xfrm>
              <a:off x="9435814" y="4691050"/>
              <a:ext cx="179095" cy="101985"/>
            </a:xfrm>
            <a:custGeom>
              <a:avLst/>
              <a:gdLst>
                <a:gd name="T0" fmla="*/ 327 w 342"/>
                <a:gd name="T1" fmla="*/ 0 h 198"/>
                <a:gd name="T2" fmla="*/ 327 w 342"/>
                <a:gd name="T3" fmla="*/ 0 h 198"/>
                <a:gd name="T4" fmla="*/ 37 w 342"/>
                <a:gd name="T5" fmla="*/ 0 h 198"/>
                <a:gd name="T6" fmla="*/ 0 w 342"/>
                <a:gd name="T7" fmla="*/ 37 h 198"/>
                <a:gd name="T8" fmla="*/ 0 w 342"/>
                <a:gd name="T9" fmla="*/ 161 h 198"/>
                <a:gd name="T10" fmla="*/ 37 w 342"/>
                <a:gd name="T11" fmla="*/ 198 h 198"/>
                <a:gd name="T12" fmla="*/ 342 w 342"/>
                <a:gd name="T13" fmla="*/ 198 h 198"/>
                <a:gd name="T14" fmla="*/ 327 w 342"/>
                <a:gd name="T15" fmla="*/ 0 h 198"/>
                <a:gd name="T16" fmla="*/ 327 w 342"/>
                <a:gd name="T17"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198">
                  <a:moveTo>
                    <a:pt x="327" y="0"/>
                  </a:moveTo>
                  <a:lnTo>
                    <a:pt x="327" y="0"/>
                  </a:lnTo>
                  <a:lnTo>
                    <a:pt x="37" y="0"/>
                  </a:lnTo>
                  <a:cubicBezTo>
                    <a:pt x="16" y="0"/>
                    <a:pt x="0" y="17"/>
                    <a:pt x="0" y="37"/>
                  </a:cubicBezTo>
                  <a:lnTo>
                    <a:pt x="0" y="161"/>
                  </a:lnTo>
                  <a:cubicBezTo>
                    <a:pt x="0" y="181"/>
                    <a:pt x="16" y="198"/>
                    <a:pt x="37" y="198"/>
                  </a:cubicBezTo>
                  <a:lnTo>
                    <a:pt x="342" y="198"/>
                  </a:lnTo>
                  <a:cubicBezTo>
                    <a:pt x="340" y="117"/>
                    <a:pt x="335" y="53"/>
                    <a:pt x="327" y="0"/>
                  </a:cubicBezTo>
                  <a:lnTo>
                    <a:pt x="327" y="0"/>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33" name="Freeform 24">
              <a:extLst>
                <a:ext uri="{FF2B5EF4-FFF2-40B4-BE49-F238E27FC236}">
                  <a16:creationId xmlns:a16="http://schemas.microsoft.com/office/drawing/2014/main" id="{E7C2F888-9C52-C2BE-42E1-932B1B24E54D}"/>
                </a:ext>
              </a:extLst>
            </p:cNvPr>
            <p:cNvSpPr>
              <a:spLocks/>
            </p:cNvSpPr>
            <p:nvPr/>
          </p:nvSpPr>
          <p:spPr bwMode="auto">
            <a:xfrm>
              <a:off x="8960715" y="4641302"/>
              <a:ext cx="109447" cy="0"/>
            </a:xfrm>
            <a:custGeom>
              <a:avLst/>
              <a:gdLst>
                <a:gd name="T0" fmla="*/ 0 w 211"/>
                <a:gd name="T1" fmla="*/ 0 w 211"/>
                <a:gd name="T2" fmla="*/ 211 w 211"/>
              </a:gdLst>
              <a:ahLst/>
              <a:cxnLst>
                <a:cxn ang="0">
                  <a:pos x="T0" y="0"/>
                </a:cxn>
                <a:cxn ang="0">
                  <a:pos x="T1" y="0"/>
                </a:cxn>
                <a:cxn ang="0">
                  <a:pos x="T2" y="0"/>
                </a:cxn>
              </a:cxnLst>
              <a:rect l="0" t="0" r="r" b="b"/>
              <a:pathLst>
                <a:path w="211">
                  <a:moveTo>
                    <a:pt x="0" y="0"/>
                  </a:moveTo>
                  <a:lnTo>
                    <a:pt x="0" y="0"/>
                  </a:lnTo>
                  <a:lnTo>
                    <a:pt x="211" y="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34" name="Freeform 29">
              <a:extLst>
                <a:ext uri="{FF2B5EF4-FFF2-40B4-BE49-F238E27FC236}">
                  <a16:creationId xmlns:a16="http://schemas.microsoft.com/office/drawing/2014/main" id="{C62F95F7-EBBF-1DD8-B520-880B85051E76}"/>
                </a:ext>
              </a:extLst>
            </p:cNvPr>
            <p:cNvSpPr>
              <a:spLocks/>
            </p:cNvSpPr>
            <p:nvPr/>
          </p:nvSpPr>
          <p:spPr bwMode="auto">
            <a:xfrm>
              <a:off x="9114935" y="4342810"/>
              <a:ext cx="144271" cy="144271"/>
            </a:xfrm>
            <a:custGeom>
              <a:avLst/>
              <a:gdLst>
                <a:gd name="T0" fmla="*/ 0 w 279"/>
                <a:gd name="T1" fmla="*/ 279 h 279"/>
                <a:gd name="T2" fmla="*/ 0 w 279"/>
                <a:gd name="T3" fmla="*/ 279 h 279"/>
                <a:gd name="T4" fmla="*/ 279 w 279"/>
                <a:gd name="T5" fmla="*/ 0 h 279"/>
              </a:gdLst>
              <a:ahLst/>
              <a:cxnLst>
                <a:cxn ang="0">
                  <a:pos x="T0" y="T1"/>
                </a:cxn>
                <a:cxn ang="0">
                  <a:pos x="T2" y="T3"/>
                </a:cxn>
                <a:cxn ang="0">
                  <a:pos x="T4" y="T5"/>
                </a:cxn>
              </a:cxnLst>
              <a:rect l="0" t="0" r="r" b="b"/>
              <a:pathLst>
                <a:path w="279" h="279">
                  <a:moveTo>
                    <a:pt x="0" y="279"/>
                  </a:moveTo>
                  <a:lnTo>
                    <a:pt x="0" y="279"/>
                  </a:lnTo>
                  <a:lnTo>
                    <a:pt x="279" y="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35" name="Freeform 30">
              <a:extLst>
                <a:ext uri="{FF2B5EF4-FFF2-40B4-BE49-F238E27FC236}">
                  <a16:creationId xmlns:a16="http://schemas.microsoft.com/office/drawing/2014/main" id="{E27F2F06-1A79-E73A-AF16-422CA37AB027}"/>
                </a:ext>
              </a:extLst>
            </p:cNvPr>
            <p:cNvSpPr>
              <a:spLocks/>
            </p:cNvSpPr>
            <p:nvPr/>
          </p:nvSpPr>
          <p:spPr bwMode="auto">
            <a:xfrm>
              <a:off x="9187071" y="4414946"/>
              <a:ext cx="124372" cy="124372"/>
            </a:xfrm>
            <a:custGeom>
              <a:avLst/>
              <a:gdLst>
                <a:gd name="T0" fmla="*/ 0 w 239"/>
                <a:gd name="T1" fmla="*/ 0 h 240"/>
                <a:gd name="T2" fmla="*/ 0 w 239"/>
                <a:gd name="T3" fmla="*/ 0 h 240"/>
                <a:gd name="T4" fmla="*/ 239 w 239"/>
                <a:gd name="T5" fmla="*/ 240 h 240"/>
              </a:gdLst>
              <a:ahLst/>
              <a:cxnLst>
                <a:cxn ang="0">
                  <a:pos x="T0" y="T1"/>
                </a:cxn>
                <a:cxn ang="0">
                  <a:pos x="T2" y="T3"/>
                </a:cxn>
                <a:cxn ang="0">
                  <a:pos x="T4" y="T5"/>
                </a:cxn>
              </a:cxnLst>
              <a:rect l="0" t="0" r="r" b="b"/>
              <a:pathLst>
                <a:path w="239" h="240">
                  <a:moveTo>
                    <a:pt x="0" y="0"/>
                  </a:moveTo>
                  <a:lnTo>
                    <a:pt x="0" y="0"/>
                  </a:lnTo>
                  <a:lnTo>
                    <a:pt x="239" y="240"/>
                  </a:lnTo>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grpSp>
          <p:nvGrpSpPr>
            <p:cNvPr id="136" name="Graphic 172">
              <a:extLst>
                <a:ext uri="{FF2B5EF4-FFF2-40B4-BE49-F238E27FC236}">
                  <a16:creationId xmlns:a16="http://schemas.microsoft.com/office/drawing/2014/main" id="{B45B0ACA-F2AF-7212-9FE7-0F9179C51339}"/>
                </a:ext>
              </a:extLst>
            </p:cNvPr>
            <p:cNvGrpSpPr/>
            <p:nvPr/>
          </p:nvGrpSpPr>
          <p:grpSpPr>
            <a:xfrm>
              <a:off x="7857894" y="3875273"/>
              <a:ext cx="654787" cy="655933"/>
              <a:chOff x="7857894" y="3875273"/>
              <a:chExt cx="654787" cy="655933"/>
            </a:xfrm>
            <a:solidFill>
              <a:srgbClr val="FFFFFF"/>
            </a:solidFill>
          </p:grpSpPr>
          <p:sp>
            <p:nvSpPr>
              <p:cNvPr id="137" name="Freeform: Shape 136">
                <a:extLst>
                  <a:ext uri="{FF2B5EF4-FFF2-40B4-BE49-F238E27FC236}">
                    <a16:creationId xmlns:a16="http://schemas.microsoft.com/office/drawing/2014/main" id="{2669CE57-018D-8A69-E3A5-C399D442DD89}"/>
                  </a:ext>
                </a:extLst>
              </p:cNvPr>
              <p:cNvSpPr/>
              <p:nvPr/>
            </p:nvSpPr>
            <p:spPr>
              <a:xfrm>
                <a:off x="7857894" y="3875273"/>
                <a:ext cx="654787" cy="655933"/>
              </a:xfrm>
              <a:custGeom>
                <a:avLst/>
                <a:gdLst>
                  <a:gd name="connsiteX0" fmla="*/ 368428 w 736855"/>
                  <a:gd name="connsiteY0" fmla="*/ 773951 h 773950"/>
                  <a:gd name="connsiteX1" fmla="*/ 0 w 736855"/>
                  <a:gd name="connsiteY1" fmla="*/ 386975 h 773950"/>
                  <a:gd name="connsiteX2" fmla="*/ 368428 w 736855"/>
                  <a:gd name="connsiteY2" fmla="*/ 0 h 773950"/>
                  <a:gd name="connsiteX3" fmla="*/ 736856 w 736855"/>
                  <a:gd name="connsiteY3" fmla="*/ 386975 h 773950"/>
                  <a:gd name="connsiteX4" fmla="*/ 368428 w 736855"/>
                  <a:gd name="connsiteY4" fmla="*/ 773951 h 773950"/>
                  <a:gd name="connsiteX5" fmla="*/ 368428 w 736855"/>
                  <a:gd name="connsiteY5" fmla="*/ 42342 h 773950"/>
                  <a:gd name="connsiteX6" fmla="*/ 40112 w 736855"/>
                  <a:gd name="connsiteY6" fmla="*/ 387186 h 773950"/>
                  <a:gd name="connsiteX7" fmla="*/ 368428 w 736855"/>
                  <a:gd name="connsiteY7" fmla="*/ 731819 h 773950"/>
                  <a:gd name="connsiteX8" fmla="*/ 696744 w 736855"/>
                  <a:gd name="connsiteY8" fmla="*/ 387186 h 773950"/>
                  <a:gd name="connsiteX9" fmla="*/ 368428 w 736855"/>
                  <a:gd name="connsiteY9" fmla="*/ 42342 h 77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6855" h="773950">
                    <a:moveTo>
                      <a:pt x="368428" y="773951"/>
                    </a:moveTo>
                    <a:cubicBezTo>
                      <a:pt x="165261" y="773951"/>
                      <a:pt x="0" y="600370"/>
                      <a:pt x="0" y="386975"/>
                    </a:cubicBezTo>
                    <a:cubicBezTo>
                      <a:pt x="0" y="173581"/>
                      <a:pt x="165261" y="0"/>
                      <a:pt x="368428" y="0"/>
                    </a:cubicBezTo>
                    <a:cubicBezTo>
                      <a:pt x="571595" y="0"/>
                      <a:pt x="736856" y="173581"/>
                      <a:pt x="736856" y="386975"/>
                    </a:cubicBezTo>
                    <a:cubicBezTo>
                      <a:pt x="736655" y="600370"/>
                      <a:pt x="571394" y="773951"/>
                      <a:pt x="368428" y="773951"/>
                    </a:cubicBezTo>
                    <a:close/>
                    <a:moveTo>
                      <a:pt x="368428" y="42342"/>
                    </a:moveTo>
                    <a:cubicBezTo>
                      <a:pt x="187523" y="42342"/>
                      <a:pt x="40112" y="196963"/>
                      <a:pt x="40112" y="387186"/>
                    </a:cubicBezTo>
                    <a:cubicBezTo>
                      <a:pt x="40112" y="577408"/>
                      <a:pt x="187323" y="731819"/>
                      <a:pt x="368428" y="731819"/>
                    </a:cubicBezTo>
                    <a:cubicBezTo>
                      <a:pt x="549332" y="731819"/>
                      <a:pt x="696744" y="577198"/>
                      <a:pt x="696744" y="387186"/>
                    </a:cubicBezTo>
                    <a:cubicBezTo>
                      <a:pt x="696744" y="197174"/>
                      <a:pt x="549332" y="42342"/>
                      <a:pt x="368428" y="42342"/>
                    </a:cubicBezTo>
                    <a:close/>
                  </a:path>
                </a:pathLst>
              </a:custGeom>
              <a:solidFill>
                <a:srgbClr val="FFFFFF"/>
              </a:solid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sp>
            <p:nvSpPr>
              <p:cNvPr id="138" name="Freeform: Shape 137">
                <a:extLst>
                  <a:ext uri="{FF2B5EF4-FFF2-40B4-BE49-F238E27FC236}">
                    <a16:creationId xmlns:a16="http://schemas.microsoft.com/office/drawing/2014/main" id="{3F1AF72F-07BB-B307-8E0A-2B7A9FFB670B}"/>
                  </a:ext>
                </a:extLst>
              </p:cNvPr>
              <p:cNvSpPr/>
              <p:nvPr/>
            </p:nvSpPr>
            <p:spPr>
              <a:xfrm>
                <a:off x="7979447" y="4003922"/>
                <a:ext cx="418821" cy="419554"/>
              </a:xfrm>
              <a:custGeom>
                <a:avLst/>
                <a:gdLst>
                  <a:gd name="connsiteX0" fmla="*/ 303045 w 471314"/>
                  <a:gd name="connsiteY0" fmla="*/ 495042 h 495041"/>
                  <a:gd name="connsiteX1" fmla="*/ 168269 w 471314"/>
                  <a:gd name="connsiteY1" fmla="*/ 495042 h 495041"/>
                  <a:gd name="connsiteX2" fmla="*/ 148213 w 471314"/>
                  <a:gd name="connsiteY2" fmla="*/ 473976 h 495041"/>
                  <a:gd name="connsiteX3" fmla="*/ 148213 w 471314"/>
                  <a:gd name="connsiteY3" fmla="*/ 339367 h 495041"/>
                  <a:gd name="connsiteX4" fmla="*/ 20056 w 471314"/>
                  <a:gd name="connsiteY4" fmla="*/ 339367 h 495041"/>
                  <a:gd name="connsiteX5" fmla="*/ 0 w 471314"/>
                  <a:gd name="connsiteY5" fmla="*/ 318301 h 495041"/>
                  <a:gd name="connsiteX6" fmla="*/ 0 w 471314"/>
                  <a:gd name="connsiteY6" fmla="*/ 176740 h 495041"/>
                  <a:gd name="connsiteX7" fmla="*/ 20056 w 471314"/>
                  <a:gd name="connsiteY7" fmla="*/ 155675 h 495041"/>
                  <a:gd name="connsiteX8" fmla="*/ 148213 w 471314"/>
                  <a:gd name="connsiteY8" fmla="*/ 155675 h 495041"/>
                  <a:gd name="connsiteX9" fmla="*/ 148213 w 471314"/>
                  <a:gd name="connsiteY9" fmla="*/ 21066 h 495041"/>
                  <a:gd name="connsiteX10" fmla="*/ 168269 w 471314"/>
                  <a:gd name="connsiteY10" fmla="*/ 0 h 495041"/>
                  <a:gd name="connsiteX11" fmla="*/ 303045 w 471314"/>
                  <a:gd name="connsiteY11" fmla="*/ 0 h 495041"/>
                  <a:gd name="connsiteX12" fmla="*/ 323101 w 471314"/>
                  <a:gd name="connsiteY12" fmla="*/ 21066 h 495041"/>
                  <a:gd name="connsiteX13" fmla="*/ 323101 w 471314"/>
                  <a:gd name="connsiteY13" fmla="*/ 155675 h 495041"/>
                  <a:gd name="connsiteX14" fmla="*/ 451259 w 471314"/>
                  <a:gd name="connsiteY14" fmla="*/ 155675 h 495041"/>
                  <a:gd name="connsiteX15" fmla="*/ 471315 w 471314"/>
                  <a:gd name="connsiteY15" fmla="*/ 176740 h 495041"/>
                  <a:gd name="connsiteX16" fmla="*/ 471315 w 471314"/>
                  <a:gd name="connsiteY16" fmla="*/ 318301 h 495041"/>
                  <a:gd name="connsiteX17" fmla="*/ 451259 w 471314"/>
                  <a:gd name="connsiteY17" fmla="*/ 339367 h 495041"/>
                  <a:gd name="connsiteX18" fmla="*/ 323101 w 471314"/>
                  <a:gd name="connsiteY18" fmla="*/ 339367 h 495041"/>
                  <a:gd name="connsiteX19" fmla="*/ 323101 w 471314"/>
                  <a:gd name="connsiteY19" fmla="*/ 473976 h 495041"/>
                  <a:gd name="connsiteX20" fmla="*/ 303045 w 471314"/>
                  <a:gd name="connsiteY20" fmla="*/ 495042 h 495041"/>
                  <a:gd name="connsiteX21" fmla="*/ 188526 w 471314"/>
                  <a:gd name="connsiteY21" fmla="*/ 452911 h 495041"/>
                  <a:gd name="connsiteX22" fmla="*/ 283190 w 471314"/>
                  <a:gd name="connsiteY22" fmla="*/ 452911 h 495041"/>
                  <a:gd name="connsiteX23" fmla="*/ 283190 w 471314"/>
                  <a:gd name="connsiteY23" fmla="*/ 318301 h 495041"/>
                  <a:gd name="connsiteX24" fmla="*/ 303246 w 471314"/>
                  <a:gd name="connsiteY24" fmla="*/ 297236 h 495041"/>
                  <a:gd name="connsiteX25" fmla="*/ 431403 w 471314"/>
                  <a:gd name="connsiteY25" fmla="*/ 297236 h 495041"/>
                  <a:gd name="connsiteX26" fmla="*/ 431403 w 471314"/>
                  <a:gd name="connsiteY26" fmla="*/ 197806 h 495041"/>
                  <a:gd name="connsiteX27" fmla="*/ 303246 w 471314"/>
                  <a:gd name="connsiteY27" fmla="*/ 197806 h 495041"/>
                  <a:gd name="connsiteX28" fmla="*/ 283190 w 471314"/>
                  <a:gd name="connsiteY28" fmla="*/ 176740 h 495041"/>
                  <a:gd name="connsiteX29" fmla="*/ 283190 w 471314"/>
                  <a:gd name="connsiteY29" fmla="*/ 42131 h 495041"/>
                  <a:gd name="connsiteX30" fmla="*/ 188526 w 471314"/>
                  <a:gd name="connsiteY30" fmla="*/ 42131 h 495041"/>
                  <a:gd name="connsiteX31" fmla="*/ 188526 w 471314"/>
                  <a:gd name="connsiteY31" fmla="*/ 176740 h 495041"/>
                  <a:gd name="connsiteX32" fmla="*/ 168470 w 471314"/>
                  <a:gd name="connsiteY32" fmla="*/ 197806 h 495041"/>
                  <a:gd name="connsiteX33" fmla="*/ 40312 w 471314"/>
                  <a:gd name="connsiteY33" fmla="*/ 197806 h 495041"/>
                  <a:gd name="connsiteX34" fmla="*/ 40312 w 471314"/>
                  <a:gd name="connsiteY34" fmla="*/ 297236 h 495041"/>
                  <a:gd name="connsiteX35" fmla="*/ 168470 w 471314"/>
                  <a:gd name="connsiteY35" fmla="*/ 297236 h 495041"/>
                  <a:gd name="connsiteX36" fmla="*/ 188526 w 471314"/>
                  <a:gd name="connsiteY36" fmla="*/ 318301 h 495041"/>
                  <a:gd name="connsiteX37" fmla="*/ 188526 w 471314"/>
                  <a:gd name="connsiteY37" fmla="*/ 452911 h 49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71314" h="495041">
                    <a:moveTo>
                      <a:pt x="303045" y="495042"/>
                    </a:moveTo>
                    <a:lnTo>
                      <a:pt x="168269" y="495042"/>
                    </a:lnTo>
                    <a:cubicBezTo>
                      <a:pt x="157239" y="495042"/>
                      <a:pt x="148213" y="485562"/>
                      <a:pt x="148213" y="473976"/>
                    </a:cubicBezTo>
                    <a:lnTo>
                      <a:pt x="148213" y="339367"/>
                    </a:lnTo>
                    <a:lnTo>
                      <a:pt x="20056" y="339367"/>
                    </a:lnTo>
                    <a:cubicBezTo>
                      <a:pt x="9025" y="339367"/>
                      <a:pt x="0" y="329887"/>
                      <a:pt x="0" y="318301"/>
                    </a:cubicBezTo>
                    <a:lnTo>
                      <a:pt x="0" y="176740"/>
                    </a:lnTo>
                    <a:cubicBezTo>
                      <a:pt x="0" y="165154"/>
                      <a:pt x="9025" y="155675"/>
                      <a:pt x="20056" y="155675"/>
                    </a:cubicBezTo>
                    <a:lnTo>
                      <a:pt x="148213" y="155675"/>
                    </a:lnTo>
                    <a:lnTo>
                      <a:pt x="148213" y="21066"/>
                    </a:lnTo>
                    <a:cubicBezTo>
                      <a:pt x="148213" y="9480"/>
                      <a:pt x="157239" y="0"/>
                      <a:pt x="168269" y="0"/>
                    </a:cubicBezTo>
                    <a:lnTo>
                      <a:pt x="303045" y="0"/>
                    </a:lnTo>
                    <a:cubicBezTo>
                      <a:pt x="314076" y="0"/>
                      <a:pt x="323101" y="9480"/>
                      <a:pt x="323101" y="21066"/>
                    </a:cubicBezTo>
                    <a:lnTo>
                      <a:pt x="323101" y="155675"/>
                    </a:lnTo>
                    <a:lnTo>
                      <a:pt x="451259" y="155675"/>
                    </a:lnTo>
                    <a:cubicBezTo>
                      <a:pt x="462290" y="155675"/>
                      <a:pt x="471315" y="165154"/>
                      <a:pt x="471315" y="176740"/>
                    </a:cubicBezTo>
                    <a:lnTo>
                      <a:pt x="471315" y="318301"/>
                    </a:lnTo>
                    <a:cubicBezTo>
                      <a:pt x="471315" y="329887"/>
                      <a:pt x="462290" y="339367"/>
                      <a:pt x="451259" y="339367"/>
                    </a:cubicBezTo>
                    <a:lnTo>
                      <a:pt x="323101" y="339367"/>
                    </a:lnTo>
                    <a:lnTo>
                      <a:pt x="323101" y="473976"/>
                    </a:lnTo>
                    <a:cubicBezTo>
                      <a:pt x="323101" y="485562"/>
                      <a:pt x="314277" y="495042"/>
                      <a:pt x="303045" y="495042"/>
                    </a:cubicBezTo>
                    <a:close/>
                    <a:moveTo>
                      <a:pt x="188526" y="452911"/>
                    </a:moveTo>
                    <a:lnTo>
                      <a:pt x="283190" y="452911"/>
                    </a:lnTo>
                    <a:lnTo>
                      <a:pt x="283190" y="318301"/>
                    </a:lnTo>
                    <a:cubicBezTo>
                      <a:pt x="283190" y="306715"/>
                      <a:pt x="292215" y="297236"/>
                      <a:pt x="303246" y="297236"/>
                    </a:cubicBezTo>
                    <a:lnTo>
                      <a:pt x="431403" y="297236"/>
                    </a:lnTo>
                    <a:lnTo>
                      <a:pt x="431403" y="197806"/>
                    </a:lnTo>
                    <a:lnTo>
                      <a:pt x="303246" y="197806"/>
                    </a:lnTo>
                    <a:cubicBezTo>
                      <a:pt x="292215" y="197806"/>
                      <a:pt x="283190" y="188327"/>
                      <a:pt x="283190" y="176740"/>
                    </a:cubicBezTo>
                    <a:lnTo>
                      <a:pt x="283190" y="42131"/>
                    </a:lnTo>
                    <a:lnTo>
                      <a:pt x="188526" y="42131"/>
                    </a:lnTo>
                    <a:lnTo>
                      <a:pt x="188526" y="176740"/>
                    </a:lnTo>
                    <a:cubicBezTo>
                      <a:pt x="188526" y="188327"/>
                      <a:pt x="179501" y="197806"/>
                      <a:pt x="168470" y="197806"/>
                    </a:cubicBezTo>
                    <a:lnTo>
                      <a:pt x="40312" y="197806"/>
                    </a:lnTo>
                    <a:lnTo>
                      <a:pt x="40312" y="297236"/>
                    </a:lnTo>
                    <a:lnTo>
                      <a:pt x="168470" y="297236"/>
                    </a:lnTo>
                    <a:cubicBezTo>
                      <a:pt x="179501" y="297236"/>
                      <a:pt x="188526" y="306715"/>
                      <a:pt x="188526" y="318301"/>
                    </a:cubicBezTo>
                    <a:lnTo>
                      <a:pt x="188526" y="452911"/>
                    </a:lnTo>
                    <a:close/>
                  </a:path>
                </a:pathLst>
              </a:custGeom>
              <a:solidFill>
                <a:srgbClr val="FFFFFF"/>
              </a:solidFill>
              <a:ln w="952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panose="020F0502020204030204"/>
                  <a:cs typeface="Calibri"/>
                </a:endParaRPr>
              </a:p>
            </p:txBody>
          </p:sp>
        </p:grpSp>
      </p:grpSp>
      <p:sp>
        <p:nvSpPr>
          <p:cNvPr id="2" name="Title 3">
            <a:extLst>
              <a:ext uri="{FF2B5EF4-FFF2-40B4-BE49-F238E27FC236}">
                <a16:creationId xmlns:a16="http://schemas.microsoft.com/office/drawing/2014/main" id="{E52B5050-8874-29C7-033B-86B3178B5C3F}"/>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The Patient Journey to Bellevue</a:t>
            </a:r>
          </a:p>
        </p:txBody>
      </p:sp>
      <p:sp>
        <p:nvSpPr>
          <p:cNvPr id="4" name="TextBox 3">
            <a:extLst>
              <a:ext uri="{FF2B5EF4-FFF2-40B4-BE49-F238E27FC236}">
                <a16:creationId xmlns:a16="http://schemas.microsoft.com/office/drawing/2014/main" id="{6B00F546-E31C-00C3-1F11-4D350B9F8957}"/>
              </a:ext>
            </a:extLst>
          </p:cNvPr>
          <p:cNvSpPr txBox="1"/>
          <p:nvPr/>
        </p:nvSpPr>
        <p:spPr>
          <a:xfrm>
            <a:off x="499872" y="621793"/>
            <a:ext cx="10194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This graphic illustrates an HCID patient transport to Bellevue to summarize the document. Please note </a:t>
            </a:r>
            <a:r>
              <a:rPr lang="en-US" sz="1400" i="1">
                <a:solidFill>
                  <a:prstClr val="black"/>
                </a:solidFill>
                <a:latin typeface="Calibri" panose="020F0502020204030204"/>
              </a:rPr>
              <a:t>i</a:t>
            </a: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t does not include other transport scenarios </a:t>
            </a:r>
          </a:p>
        </p:txBody>
      </p:sp>
    </p:spTree>
    <p:extLst>
      <p:ext uri="{BB962C8B-B14F-4D97-AF65-F5344CB8AC3E}">
        <p14:creationId xmlns:p14="http://schemas.microsoft.com/office/powerpoint/2010/main" val="7098032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1E428A"/>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1C8478-7D18-41B8-9A20-A924C21316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4BF5D-8F9B-407A-AC8F-1C7206B5B53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BE128BB-F9C9-4D1E-8EF7-3A99EBCC7F36}"/>
              </a:ext>
            </a:extLst>
          </p:cNvPr>
          <p:cNvSpPr txBox="1"/>
          <p:nvPr/>
        </p:nvSpPr>
        <p:spPr>
          <a:xfrm>
            <a:off x="723014" y="3749979"/>
            <a:ext cx="1021788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Q&amp;A</a:t>
            </a:r>
          </a:p>
        </p:txBody>
      </p:sp>
    </p:spTree>
    <p:extLst>
      <p:ext uri="{BB962C8B-B14F-4D97-AF65-F5344CB8AC3E}">
        <p14:creationId xmlns:p14="http://schemas.microsoft.com/office/powerpoint/2010/main" val="386729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B35BAE-7ABE-4A71-9AB3-7CCD18270BCD}"/>
              </a:ext>
            </a:extLst>
          </p:cNvPr>
          <p:cNvSpPr>
            <a:spLocks noGrp="1"/>
          </p:cNvSpPr>
          <p:nvPr>
            <p:ph type="sldNum" sz="quarter" idx="12"/>
          </p:nvPr>
        </p:nvSpPr>
        <p:spPr/>
        <p:txBody>
          <a:bodyPr/>
          <a:lstStyle/>
          <a:p>
            <a:fld id="{77F4BF5D-8F9B-407A-AC8F-1C7206B5B534}" type="slidenum">
              <a:rPr lang="en-US" smtClean="0"/>
              <a:t>3</a:t>
            </a:fld>
            <a:endParaRPr lang="en-US"/>
          </a:p>
        </p:txBody>
      </p:sp>
      <p:sp>
        <p:nvSpPr>
          <p:cNvPr id="24" name="Title 3">
            <a:extLst>
              <a:ext uri="{FF2B5EF4-FFF2-40B4-BE49-F238E27FC236}">
                <a16:creationId xmlns:a16="http://schemas.microsoft.com/office/drawing/2014/main" id="{964923DB-2256-419B-A063-3239D1FC888E}"/>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a:defRPr/>
            </a:pPr>
            <a:r>
              <a:rPr lang="en-US">
                <a:solidFill>
                  <a:sysClr val="windowText" lastClr="000000"/>
                </a:solidFill>
                <a:latin typeface="Arial" panose="020B0604020202020204" pitchFamily="34" charset="0"/>
                <a:cs typeface="Arial" panose="020B0604020202020204" pitchFamily="34" charset="0"/>
              </a:rPr>
              <a:t>Poll Everywhere Instructions</a:t>
            </a:r>
          </a:p>
        </p:txBody>
      </p:sp>
      <p:pic>
        <p:nvPicPr>
          <p:cNvPr id="5" name="Picture 4">
            <a:extLst>
              <a:ext uri="{FF2B5EF4-FFF2-40B4-BE49-F238E27FC236}">
                <a16:creationId xmlns:a16="http://schemas.microsoft.com/office/drawing/2014/main" id="{A2185EA8-FE18-90CF-100A-40230E9654D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610600" y="1669568"/>
            <a:ext cx="2826787" cy="2813063"/>
          </a:xfrm>
          <a:prstGeom prst="rect">
            <a:avLst/>
          </a:prstGeom>
        </p:spPr>
      </p:pic>
      <p:graphicFrame>
        <p:nvGraphicFramePr>
          <p:cNvPr id="7" name="Table 7">
            <a:extLst>
              <a:ext uri="{FF2B5EF4-FFF2-40B4-BE49-F238E27FC236}">
                <a16:creationId xmlns:a16="http://schemas.microsoft.com/office/drawing/2014/main" id="{35343B6B-F316-AF44-15BA-D997EB73C379}"/>
              </a:ext>
            </a:extLst>
          </p:cNvPr>
          <p:cNvGraphicFramePr>
            <a:graphicFrameLocks noGrp="1"/>
          </p:cNvGraphicFramePr>
          <p:nvPr>
            <p:extLst>
              <p:ext uri="{D42A27DB-BD31-4B8C-83A1-F6EECF244321}">
                <p14:modId xmlns:p14="http://schemas.microsoft.com/office/powerpoint/2010/main" val="3700305349"/>
              </p:ext>
            </p:extLst>
          </p:nvPr>
        </p:nvGraphicFramePr>
        <p:xfrm>
          <a:off x="499871" y="1253762"/>
          <a:ext cx="7820152" cy="3479800"/>
        </p:xfrm>
        <a:graphic>
          <a:graphicData uri="http://schemas.openxmlformats.org/drawingml/2006/table">
            <a:tbl>
              <a:tblPr firstRow="1" bandRow="1">
                <a:tableStyleId>{5C22544A-7EE6-4342-B048-85BDC9FD1C3A}</a:tableStyleId>
              </a:tblPr>
              <a:tblGrid>
                <a:gridCol w="7820152">
                  <a:extLst>
                    <a:ext uri="{9D8B030D-6E8A-4147-A177-3AD203B41FA5}">
                      <a16:colId xmlns:a16="http://schemas.microsoft.com/office/drawing/2014/main" val="3554456802"/>
                    </a:ext>
                  </a:extLst>
                </a:gridCol>
              </a:tblGrid>
              <a:tr h="370840">
                <a:tc>
                  <a:txBody>
                    <a:bodyPr/>
                    <a:lstStyle/>
                    <a:p>
                      <a:r>
                        <a:rPr lang="en-US">
                          <a:solidFill>
                            <a:sysClr val="windowText" lastClr="000000"/>
                          </a:solidFill>
                        </a:rPr>
                        <a:t>INSTRUCTIONS TO ACCESS POLL EVERYWHERE</a:t>
                      </a: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21969023"/>
                  </a:ext>
                </a:extLst>
              </a:tr>
              <a:tr h="370840">
                <a:tc>
                  <a:txBody>
                    <a:bodyPr/>
                    <a:lstStyle/>
                    <a:p>
                      <a:pPr marL="0" indent="0">
                        <a:buFont typeface="Arial" panose="020B0604020202020204" pitchFamily="34" charset="0"/>
                        <a:buNone/>
                      </a:pPr>
                      <a:r>
                        <a:rPr lang="en-US" b="1">
                          <a:solidFill>
                            <a:sysClr val="windowText" lastClr="000000"/>
                          </a:solidFill>
                        </a:rPr>
                        <a:t>Option 1: QR Code</a:t>
                      </a:r>
                    </a:p>
                    <a:p>
                      <a:pPr marL="800100" lvl="1" indent="-342900">
                        <a:buFont typeface="+mj-lt"/>
                        <a:buAutoNum type="arabicPeriod"/>
                      </a:pPr>
                      <a:r>
                        <a:rPr lang="en-US">
                          <a:solidFill>
                            <a:sysClr val="windowText" lastClr="000000"/>
                          </a:solidFill>
                        </a:rPr>
                        <a:t>Scan the QR code on your phone</a:t>
                      </a:r>
                    </a:p>
                    <a:p>
                      <a:pPr marL="800100" lvl="1" indent="-342900">
                        <a:buFont typeface="+mj-lt"/>
                        <a:buAutoNum type="arabicPeriod"/>
                      </a:pPr>
                      <a:r>
                        <a:rPr lang="en-US">
                          <a:solidFill>
                            <a:sysClr val="windowText" lastClr="000000"/>
                          </a:solidFill>
                        </a:rPr>
                        <a:t>Enter your response</a:t>
                      </a:r>
                    </a:p>
                    <a:p>
                      <a:pPr marL="0" lvl="0" indent="0">
                        <a:buFont typeface="Arial" panose="020B0604020202020204" pitchFamily="34" charset="0"/>
                        <a:buNone/>
                      </a:pPr>
                      <a:endParaRPr lang="en-US" b="1">
                        <a:solidFill>
                          <a:sysClr val="windowText" lastClr="000000"/>
                        </a:solidFill>
                      </a:endParaRPr>
                    </a:p>
                    <a:p>
                      <a:pPr marL="0" lvl="0" indent="0">
                        <a:buFont typeface="Arial" panose="020B0604020202020204" pitchFamily="34" charset="0"/>
                        <a:buNone/>
                      </a:pPr>
                      <a:r>
                        <a:rPr lang="en-US" b="1">
                          <a:solidFill>
                            <a:sysClr val="windowText" lastClr="000000"/>
                          </a:solidFill>
                        </a:rPr>
                        <a:t>Option 2: Go to the website</a:t>
                      </a:r>
                    </a:p>
                    <a:p>
                      <a:pPr marL="800100" lvl="1" indent="-342900">
                        <a:buFont typeface="+mj-lt"/>
                        <a:buAutoNum type="arabicPeriod"/>
                      </a:pPr>
                      <a:r>
                        <a:rPr lang="en-US" b="0">
                          <a:solidFill>
                            <a:sysClr val="windowText" lastClr="000000"/>
                          </a:solidFill>
                        </a:rPr>
                        <a:t>Go to PollEv.com​/region2</a:t>
                      </a:r>
                    </a:p>
                    <a:p>
                      <a:pPr marL="800100" lvl="1" indent="-342900">
                        <a:buFont typeface="+mj-lt"/>
                        <a:buAutoNum type="arabicPeriod"/>
                      </a:pPr>
                      <a:r>
                        <a:rPr lang="en-US">
                          <a:solidFill>
                            <a:sysClr val="windowText" lastClr="000000"/>
                          </a:solidFill>
                        </a:rPr>
                        <a:t>Enter your response</a:t>
                      </a:r>
                    </a:p>
                    <a:p>
                      <a:pPr marL="0" lvl="0" indent="0">
                        <a:buFont typeface="Arial" panose="020B0604020202020204" pitchFamily="34" charset="0"/>
                        <a:buNone/>
                      </a:pPr>
                      <a:endParaRPr lang="en-US" b="1">
                        <a:solidFill>
                          <a:sysClr val="windowText" lastClr="000000"/>
                        </a:solidFill>
                      </a:endParaRPr>
                    </a:p>
                    <a:p>
                      <a:pPr marL="0" lvl="0" indent="0">
                        <a:buFont typeface="Arial" panose="020B0604020202020204" pitchFamily="34" charset="0"/>
                        <a:buNone/>
                      </a:pPr>
                      <a:r>
                        <a:rPr lang="en-US" b="1">
                          <a:solidFill>
                            <a:sysClr val="windowText" lastClr="000000"/>
                          </a:solidFill>
                        </a:rPr>
                        <a:t>Option 3: Text</a:t>
                      </a:r>
                    </a:p>
                    <a:p>
                      <a:pPr marL="800100" lvl="1" indent="-342900">
                        <a:buFont typeface="+mj-lt"/>
                        <a:buAutoNum type="arabicPeriod"/>
                      </a:pPr>
                      <a:r>
                        <a:rPr lang="en-US" b="0">
                          <a:solidFill>
                            <a:sysClr val="windowText" lastClr="000000"/>
                          </a:solidFill>
                        </a:rPr>
                        <a:t>Text “region2” to 22333</a:t>
                      </a:r>
                    </a:p>
                    <a:p>
                      <a:pPr marL="800100" lvl="1" indent="-342900">
                        <a:buFont typeface="+mj-lt"/>
                        <a:buAutoNum type="arabicPeriod"/>
                      </a:pPr>
                      <a:r>
                        <a:rPr lang="en-US">
                          <a:solidFill>
                            <a:sysClr val="windowText" lastClr="000000"/>
                          </a:solidFill>
                        </a:rPr>
                        <a:t>After you receive a confirmation, text your response to the same number</a:t>
                      </a: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64853918"/>
                  </a:ext>
                </a:extLst>
              </a:tr>
            </a:tbl>
          </a:graphicData>
        </a:graphic>
      </p:graphicFrame>
      <p:sp>
        <p:nvSpPr>
          <p:cNvPr id="9" name="Rectangle 8">
            <a:extLst>
              <a:ext uri="{FF2B5EF4-FFF2-40B4-BE49-F238E27FC236}">
                <a16:creationId xmlns:a16="http://schemas.microsoft.com/office/drawing/2014/main" id="{ED177950-17D1-17EF-3B9D-6C96A16D5CD9}"/>
              </a:ext>
            </a:extLst>
          </p:cNvPr>
          <p:cNvSpPr/>
          <p:nvPr/>
        </p:nvSpPr>
        <p:spPr>
          <a:xfrm>
            <a:off x="499871" y="5365532"/>
            <a:ext cx="10937515" cy="737758"/>
          </a:xfrm>
          <a:prstGeom prst="rect">
            <a:avLst/>
          </a:prstGeom>
          <a:solidFill>
            <a:srgbClr val="1E428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Please keep your responses to one word without spaces. </a:t>
            </a:r>
          </a:p>
          <a:p>
            <a:pPr algn="ctr"/>
            <a:r>
              <a:rPr lang="en-US"/>
              <a:t>For example, instead of “Special Pathogen” submit “</a:t>
            </a:r>
            <a:r>
              <a:rPr lang="en-US" err="1"/>
              <a:t>SpecialPathogen</a:t>
            </a:r>
            <a:r>
              <a:rPr lang="en-US"/>
              <a:t>” without spaces. </a:t>
            </a:r>
          </a:p>
        </p:txBody>
      </p:sp>
    </p:spTree>
    <p:extLst>
      <p:ext uri="{BB962C8B-B14F-4D97-AF65-F5344CB8AC3E}">
        <p14:creationId xmlns:p14="http://schemas.microsoft.com/office/powerpoint/2010/main" val="1747163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E428A"/>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1C8478-7D18-41B8-9A20-A924C21316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4BF5D-8F9B-407A-AC8F-1C7206B5B53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BE128BB-F9C9-4D1E-8EF7-3A99EBCC7F36}"/>
              </a:ext>
            </a:extLst>
          </p:cNvPr>
          <p:cNvSpPr txBox="1"/>
          <p:nvPr/>
        </p:nvSpPr>
        <p:spPr>
          <a:xfrm>
            <a:off x="723014" y="3749979"/>
            <a:ext cx="1021788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ecent News | Measles and TB</a:t>
            </a:r>
          </a:p>
        </p:txBody>
      </p:sp>
    </p:spTree>
    <p:extLst>
      <p:ext uri="{BB962C8B-B14F-4D97-AF65-F5344CB8AC3E}">
        <p14:creationId xmlns:p14="http://schemas.microsoft.com/office/powerpoint/2010/main" val="2955890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Recent Measles Exposure</a:t>
            </a: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There has been an uptick of measles exposure with the increased amount of travel. The CDC has put together recommendations to limit exposure.</a:t>
            </a:r>
          </a:p>
        </p:txBody>
      </p:sp>
      <p:sp>
        <p:nvSpPr>
          <p:cNvPr id="8" name="TextBox 7">
            <a:extLst>
              <a:ext uri="{FF2B5EF4-FFF2-40B4-BE49-F238E27FC236}">
                <a16:creationId xmlns:a16="http://schemas.microsoft.com/office/drawing/2014/main" id="{CFFD6CDD-B17F-5326-5ED1-CB1A9404D6C0}"/>
              </a:ext>
            </a:extLst>
          </p:cNvPr>
          <p:cNvSpPr txBox="1"/>
          <p:nvPr/>
        </p:nvSpPr>
        <p:spPr>
          <a:xfrm>
            <a:off x="603058" y="1247209"/>
            <a:ext cx="5671974" cy="5262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Travel</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 Recommend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Be fully vaccinated against measles before travel, or have other evidence of measles immun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Delay travel if sick with fever and a rash</a:t>
            </a:r>
          </a:p>
          <a:p>
            <a:pPr marR="0" lvl="0" algn="l" defTabSz="914400" rtl="0" eaLnBrk="1" fontAlgn="auto" latinLnBrk="0" hangingPunct="1">
              <a:lnSpc>
                <a:spcPct val="100000"/>
              </a:lnSpc>
              <a:spcBef>
                <a:spcPts val="0"/>
              </a:spcBef>
              <a:spcAft>
                <a:spcPts val="0"/>
              </a:spcAft>
              <a:buClrTx/>
              <a:buSzTx/>
              <a:tabLst/>
              <a:defRPr/>
            </a:pPr>
            <a:endParaRPr kumimoji="0" lang="en-US" sz="1600" i="0" u="none" strike="noStrike" kern="1200" cap="none" spc="0" normalizeH="0" baseline="0" noProof="0">
              <a:ln>
                <a:noFill/>
              </a:ln>
              <a:solidFill>
                <a:prstClr val="black"/>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0"/>
              </a:spcAft>
              <a:buClrTx/>
              <a:buSzTx/>
              <a:tabLst/>
              <a:defRPr/>
            </a:pPr>
            <a:r>
              <a:rPr lang="en-US" sz="1600" b="1">
                <a:solidFill>
                  <a:prstClr val="black"/>
                </a:solidFill>
                <a:latin typeface="Calibri" panose="020F0502020204030204"/>
              </a:rPr>
              <a:t>Travel Vaccine Recommend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Infants aged 6–11 months</a:t>
            </a:r>
            <a:r>
              <a:rPr lang="en-US" sz="1600" b="1">
                <a:solidFill>
                  <a:prstClr val="black"/>
                </a:solidFill>
                <a:latin typeface="Calibri" panose="020F0502020204030204"/>
              </a:rPr>
              <a:t>:</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 Give one dose of MMR vaccine. This dose does not count as the first dose in the routine childhood vaccination ser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eople 12 months old or older, without other presumptive evidence of measles immunity</a:t>
            </a:r>
            <a:r>
              <a:rPr lang="en-US" sz="1600" b="1">
                <a:solidFill>
                  <a:prstClr val="black"/>
                </a:solidFill>
                <a:latin typeface="Calibri" panose="020F0502020204030204"/>
              </a:rPr>
              <a:t>:</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 Give two appropriately spaced doses of measles-containing vacci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eople 12 months old or older who have written documentation of one dose and no other presumptive evidence of measles immunity: </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Give one additional dose before trav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a:solidFill>
                <a:prstClr val="black"/>
              </a:solidFill>
              <a:latin typeface="Calibri" panose="020F0502020204030204"/>
            </a:endParaRPr>
          </a:p>
          <a:p>
            <a:pPr marR="0" lvl="0" algn="l" defTabSz="914400" rtl="0" eaLnBrk="1" fontAlgn="auto" latinLnBrk="0" hangingPunct="1">
              <a:lnSpc>
                <a:spcPct val="100000"/>
              </a:lnSpc>
              <a:spcBef>
                <a:spcPts val="0"/>
              </a:spcBef>
              <a:spcAft>
                <a:spcPts val="0"/>
              </a:spcAft>
              <a:buClrTx/>
              <a:buSzTx/>
              <a:tabLst/>
              <a:defRPr/>
            </a:pPr>
            <a:r>
              <a:rPr lang="en-US" sz="1600" b="1">
                <a:solidFill>
                  <a:prstClr val="black"/>
                </a:solidFill>
                <a:latin typeface="Calibri" panose="020F0502020204030204"/>
              </a:rPr>
              <a:t>Resour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CDC: </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hlinkClick r:id="rId3"/>
              </a:rPr>
              <a:t>Recommendations for Airlines to Help Reduce Risk of Measles Transmission through Air Travel</a:t>
            </a:r>
            <a:endParaRPr lang="en-US" sz="1600">
              <a:solidFill>
                <a:prstClr val="black"/>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CDC: </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hlinkClick r:id="rId4"/>
              </a:rPr>
              <a:t>Additional Measles Resources</a:t>
            </a:r>
            <a:endParaRPr kumimoji="0" lang="en-US" sz="16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BCE2DEFC-7EB0-39D9-59B0-8838DAA6D5E0}"/>
              </a:ext>
            </a:extLst>
          </p:cNvPr>
          <p:cNvSpPr/>
          <p:nvPr/>
        </p:nvSpPr>
        <p:spPr>
          <a:xfrm>
            <a:off x="6724919" y="1238223"/>
            <a:ext cx="4864023" cy="2640475"/>
          </a:xfrm>
          <a:prstGeom prst="rect">
            <a:avLst/>
          </a:prstGeom>
          <a:solidFill>
            <a:schemeClr val="bg2"/>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US" b="1">
                <a:solidFill>
                  <a:schemeClr val="tx1"/>
                </a:solidFill>
              </a:rPr>
              <a:t>Signs and Symptoms</a:t>
            </a:r>
          </a:p>
          <a:p>
            <a:pPr marL="742950" lvl="1" indent="-285750">
              <a:buFont typeface="Arial" panose="020B0604020202020204" pitchFamily="34" charset="0"/>
              <a:buChar char="•"/>
            </a:pPr>
            <a:r>
              <a:rPr lang="en-US">
                <a:solidFill>
                  <a:schemeClr val="tx1"/>
                </a:solidFill>
              </a:rPr>
              <a:t>High fever </a:t>
            </a:r>
          </a:p>
          <a:p>
            <a:pPr marL="742950" lvl="1" indent="-285750">
              <a:buFont typeface="Arial" panose="020B0604020202020204" pitchFamily="34" charset="0"/>
              <a:buChar char="•"/>
            </a:pPr>
            <a:r>
              <a:rPr lang="en-US">
                <a:solidFill>
                  <a:schemeClr val="tx1"/>
                </a:solidFill>
              </a:rPr>
              <a:t>Cough</a:t>
            </a:r>
          </a:p>
          <a:p>
            <a:pPr marL="742950" lvl="1" indent="-285750">
              <a:buFont typeface="Arial" panose="020B0604020202020204" pitchFamily="34" charset="0"/>
              <a:buChar char="•"/>
            </a:pPr>
            <a:r>
              <a:rPr lang="en-US">
                <a:solidFill>
                  <a:schemeClr val="tx1"/>
                </a:solidFill>
              </a:rPr>
              <a:t>Runny nose</a:t>
            </a:r>
          </a:p>
          <a:p>
            <a:pPr marL="742950" lvl="1" indent="-285750">
              <a:buFont typeface="Arial" panose="020B0604020202020204" pitchFamily="34" charset="0"/>
              <a:buChar char="•"/>
            </a:pPr>
            <a:r>
              <a:rPr lang="en-US">
                <a:solidFill>
                  <a:schemeClr val="tx1"/>
                </a:solidFill>
              </a:rPr>
              <a:t>Red, watery eyes</a:t>
            </a:r>
          </a:p>
          <a:p>
            <a:pPr marL="742950" lvl="1" indent="-285750">
              <a:buFont typeface="Arial" panose="020B0604020202020204" pitchFamily="34" charset="0"/>
              <a:buChar char="•"/>
            </a:pPr>
            <a:r>
              <a:rPr lang="en-US">
                <a:solidFill>
                  <a:schemeClr val="tx1"/>
                </a:solidFill>
              </a:rPr>
              <a:t>Rash appearing 3–5 days after initial symptom</a:t>
            </a:r>
          </a:p>
          <a:p>
            <a:pPr lvl="1"/>
            <a:endParaRPr lang="en-US" b="1">
              <a:solidFill>
                <a:schemeClr val="tx1"/>
              </a:solidFill>
            </a:endParaRPr>
          </a:p>
        </p:txBody>
      </p:sp>
      <p:sp>
        <p:nvSpPr>
          <p:cNvPr id="3" name="TextBox 2">
            <a:extLst>
              <a:ext uri="{FF2B5EF4-FFF2-40B4-BE49-F238E27FC236}">
                <a16:creationId xmlns:a16="http://schemas.microsoft.com/office/drawing/2014/main" id="{170CE1E2-BA76-76D7-9A58-195D90BCC903}"/>
              </a:ext>
            </a:extLst>
          </p:cNvPr>
          <p:cNvSpPr txBox="1"/>
          <p:nvPr/>
        </p:nvSpPr>
        <p:spPr>
          <a:xfrm>
            <a:off x="6724919" y="3617088"/>
            <a:ext cx="3759200" cy="261610"/>
          </a:xfrm>
          <a:prstGeom prst="rect">
            <a:avLst/>
          </a:prstGeom>
          <a:noFill/>
        </p:spPr>
        <p:txBody>
          <a:bodyPr wrap="square" rtlCol="0">
            <a:spAutoFit/>
          </a:bodyPr>
          <a:lstStyle/>
          <a:p>
            <a:r>
              <a:rPr lang="en-US" sz="1100"/>
              <a:t>Source: CDC</a:t>
            </a:r>
          </a:p>
        </p:txBody>
      </p:sp>
    </p:spTree>
    <p:extLst>
      <p:ext uri="{BB962C8B-B14F-4D97-AF65-F5344CB8AC3E}">
        <p14:creationId xmlns:p14="http://schemas.microsoft.com/office/powerpoint/2010/main" val="26679705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Recent Measles Exposure</a:t>
            </a: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There has been an uptick of measles exposure with the increased amount of travel. The CDC has put together recommendations to limit exposure. </a:t>
            </a:r>
          </a:p>
        </p:txBody>
      </p:sp>
      <p:sp>
        <p:nvSpPr>
          <p:cNvPr id="8" name="TextBox 7">
            <a:extLst>
              <a:ext uri="{FF2B5EF4-FFF2-40B4-BE49-F238E27FC236}">
                <a16:creationId xmlns:a16="http://schemas.microsoft.com/office/drawing/2014/main" id="{CFFD6CDD-B17F-5326-5ED1-CB1A9404D6C0}"/>
              </a:ext>
            </a:extLst>
          </p:cNvPr>
          <p:cNvSpPr txBox="1"/>
          <p:nvPr/>
        </p:nvSpPr>
        <p:spPr>
          <a:xfrm>
            <a:off x="603058" y="1247209"/>
            <a:ext cx="10490928"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Prevent healthcare-associated measles expos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Measles is one of the most contagious infections and can remain airborne for up to two hou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Screen for rash with fever at the point of entry of a healthcare facili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Inquire about recent international travel or known exposure to meas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Immediately institute airborne precautions for patients with suspected measles</a:t>
            </a:r>
          </a:p>
          <a:p>
            <a:pPr marR="0" lvl="0" algn="l" defTabSz="914400" rtl="0" eaLnBrk="1" fontAlgn="auto" latinLnBrk="0" hangingPunct="1">
              <a:lnSpc>
                <a:spcPct val="100000"/>
              </a:lnSpc>
              <a:spcBef>
                <a:spcPts val="0"/>
              </a:spcBef>
              <a:spcAft>
                <a:spcPts val="0"/>
              </a:spcAft>
              <a:buClrTx/>
              <a:buSzTx/>
              <a:tabLst/>
              <a:defRPr/>
            </a:pPr>
            <a:endParaRPr kumimoji="0" lang="en-US" sz="1600" i="0" u="none" strike="noStrike" kern="1200" cap="none" spc="0" normalizeH="0" baseline="0" noProof="0">
              <a:ln>
                <a:noFill/>
              </a:ln>
              <a:solidFill>
                <a:prstClr val="black"/>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0"/>
              </a:spcAft>
              <a:buClrTx/>
              <a:buSzTx/>
              <a:tabLst/>
              <a:defRPr/>
            </a:pPr>
            <a:r>
              <a:rPr lang="en-US" sz="1600" b="1">
                <a:solidFill>
                  <a:prstClr val="black"/>
                </a:solidFill>
                <a:latin typeface="Calibri" panose="020F0502020204030204"/>
              </a:rPr>
              <a:t>Report suspected measles and collect specime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Report suspected cases immediately to the NYC Department of Health’s Provider Access Line (866-692-3641) at time of initial clinical suspicion</a:t>
            </a:r>
          </a:p>
          <a:p>
            <a:pPr marL="742950" lvl="1" indent="-285750">
              <a:buFont typeface="Arial" panose="020B0604020202020204" pitchFamily="34" charset="0"/>
              <a:buChar char="•"/>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Do not wait for laboratory confirmation to re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Collect specimens for testing at the NYC Department of Health’s lab</a:t>
            </a:r>
          </a:p>
          <a:p>
            <a:pPr marL="742950" lvl="1" indent="-285750">
              <a:buFont typeface="Arial" panose="020B0604020202020204" pitchFamily="34" charset="0"/>
              <a:buChar char="•"/>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Nasopharyngeal or oropharyngeal swab for PCR</a:t>
            </a:r>
          </a:p>
          <a:p>
            <a:pPr marL="742950" lvl="1" indent="-285750">
              <a:buFont typeface="Arial" panose="020B0604020202020204" pitchFamily="34" charset="0"/>
              <a:buChar char="•"/>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Serology for  IgM/IgG testing </a:t>
            </a:r>
          </a:p>
          <a:p>
            <a:pPr lvl="1">
              <a:defRPr/>
            </a:pPr>
            <a:endParaRPr kumimoji="0" lang="en-US" sz="160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Treatment of individuals with meas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Medical care of cases is supportiv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Vitamin A may be given to children hospitalized for measles</a:t>
            </a:r>
          </a:p>
          <a:p>
            <a:pPr marL="742950" lvl="1" indent="-285750">
              <a:buFont typeface="Arial" panose="020B0604020202020204" pitchFamily="34" charset="0"/>
              <a:buChar char="•"/>
              <a:defRPr/>
            </a:pPr>
            <a:endParaRPr kumimoji="0" lang="en-US" sz="16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D29E908-1232-F39B-ABDC-188B3BF31408}"/>
              </a:ext>
            </a:extLst>
          </p:cNvPr>
          <p:cNvSpPr txBox="1"/>
          <p:nvPr/>
        </p:nvSpPr>
        <p:spPr>
          <a:xfrm>
            <a:off x="499872" y="6396940"/>
            <a:ext cx="10194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lide added after the meeting for additional </a:t>
            </a:r>
            <a:r>
              <a:rPr lang="en-US" sz="1400" i="1">
                <a:solidFill>
                  <a:prstClr val="black"/>
                </a:solidFill>
                <a:latin typeface="Calibri" panose="020F0502020204030204"/>
              </a:rPr>
              <a:t>context</a:t>
            </a: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3651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Recent Measles Exposure</a:t>
            </a: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There has been an uptick of measles exposure with the increased amount of travel. The CDC has put together recommendations to limit exposure.</a:t>
            </a:r>
          </a:p>
        </p:txBody>
      </p:sp>
      <p:sp>
        <p:nvSpPr>
          <p:cNvPr id="8" name="TextBox 7">
            <a:extLst>
              <a:ext uri="{FF2B5EF4-FFF2-40B4-BE49-F238E27FC236}">
                <a16:creationId xmlns:a16="http://schemas.microsoft.com/office/drawing/2014/main" id="{CFFD6CDD-B17F-5326-5ED1-CB1A9404D6C0}"/>
              </a:ext>
            </a:extLst>
          </p:cNvPr>
          <p:cNvSpPr txBox="1"/>
          <p:nvPr/>
        </p:nvSpPr>
        <p:spPr>
          <a:xfrm>
            <a:off x="603058" y="1247209"/>
            <a:ext cx="10490928"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Post-exposure prophylaxis (PEP) for individuals exposed to measl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Need for PEP depends on measles immunity status (e.g. documented vaccination, IgG titers), age, pregnancy status, immunocompromising conditions, and # days since exposu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MMR vaccine prophylaxis &lt;3 days of initial exposure</a:t>
            </a:r>
          </a:p>
          <a:p>
            <a:pPr marL="742950" lvl="1" indent="-285750">
              <a:buFont typeface="Arial" panose="020B0604020202020204" pitchFamily="34" charset="0"/>
              <a:buChar char="•"/>
              <a:defRPr/>
            </a:pPr>
            <a:r>
              <a:rPr lang="en-US" sz="1600">
                <a:solidFill>
                  <a:prstClr val="black"/>
                </a:solidFill>
                <a:latin typeface="Calibri" panose="020F0502020204030204"/>
              </a:rPr>
              <a:t>Non-immune individuals aged &gt;6 months (without vaccine contraind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rPr>
              <a:t>Intramuscular immune </a:t>
            </a:r>
            <a:r>
              <a:rPr lang="en-US" sz="1600" err="1">
                <a:solidFill>
                  <a:prstClr val="black"/>
                </a:solidFill>
                <a:latin typeface="Calibri" panose="020F0502020204030204"/>
              </a:rPr>
              <a:t>gloubulin</a:t>
            </a:r>
            <a:r>
              <a:rPr lang="en-US" sz="1600">
                <a:solidFill>
                  <a:prstClr val="black"/>
                </a:solidFill>
                <a:latin typeface="Calibri" panose="020F0502020204030204"/>
              </a:rPr>
              <a:t> (IGIM) &lt;6 days of initial exposure</a:t>
            </a:r>
          </a:p>
          <a:p>
            <a:pPr marL="742950" lvl="1" indent="-285750">
              <a:buFont typeface="Arial" panose="020B0604020202020204" pitchFamily="34" charset="0"/>
              <a:buChar char="•"/>
              <a:defRPr/>
            </a:pPr>
            <a:r>
              <a:rPr lang="en-US" sz="1600">
                <a:solidFill>
                  <a:prstClr val="black"/>
                </a:solidFill>
                <a:latin typeface="Calibri" panose="020F0502020204030204"/>
              </a:rPr>
              <a:t>Aged &lt;1 year</a:t>
            </a:r>
          </a:p>
          <a:p>
            <a:pPr marL="742950" lvl="1" indent="-285750">
              <a:buFont typeface="Arial" panose="020B0604020202020204" pitchFamily="34" charset="0"/>
              <a:buChar char="•"/>
              <a:defRPr/>
            </a:pPr>
            <a:r>
              <a:rPr lang="en-US" sz="1600">
                <a:solidFill>
                  <a:prstClr val="black"/>
                </a:solidFill>
                <a:latin typeface="Calibri" panose="020F0502020204030204"/>
              </a:rPr>
              <a:t>Pregnant and not immune to measles </a:t>
            </a:r>
          </a:p>
          <a:p>
            <a:pPr marL="742950" lvl="1" indent="-285750">
              <a:buFont typeface="Arial" panose="020B0604020202020204" pitchFamily="34" charset="0"/>
              <a:buChar char="•"/>
              <a:defRPr/>
            </a:pPr>
            <a:r>
              <a:rPr lang="en-US" sz="1600">
                <a:solidFill>
                  <a:prstClr val="black"/>
                </a:solidFill>
                <a:latin typeface="Calibri" panose="020F0502020204030204"/>
              </a:rPr>
              <a:t>Severely immunocompromised </a:t>
            </a:r>
          </a:p>
          <a:p>
            <a:pPr marL="742950" lvl="1" indent="-285750">
              <a:buFont typeface="Arial" panose="020B0604020202020204" pitchFamily="34" charset="0"/>
              <a:buChar char="•"/>
              <a:defRPr/>
            </a:pPr>
            <a:r>
              <a:rPr lang="en-US" sz="1600">
                <a:solidFill>
                  <a:prstClr val="black"/>
                </a:solidFill>
                <a:latin typeface="Calibri" panose="020F0502020204030204"/>
              </a:rPr>
              <a:t>Non-immune pregnant individuals</a:t>
            </a:r>
          </a:p>
          <a:p>
            <a:pPr marL="742950" lvl="1" indent="-285750">
              <a:buFont typeface="Arial" panose="020B0604020202020204" pitchFamily="34" charset="0"/>
              <a:buChar char="•"/>
              <a:defRPr/>
            </a:pPr>
            <a:endParaRPr lang="en-US" sz="1600">
              <a:solidFill>
                <a:prstClr val="black"/>
              </a:solidFill>
              <a:latin typeface="Calibri" panose="020F0502020204030204"/>
            </a:endParaRPr>
          </a:p>
          <a:p>
            <a:pPr marR="0" lvl="0" algn="l" defTabSz="914400" rtl="0" eaLnBrk="1" fontAlgn="auto" latinLnBrk="0" hangingPunct="1">
              <a:lnSpc>
                <a:spcPct val="100000"/>
              </a:lnSpc>
              <a:spcBef>
                <a:spcPts val="0"/>
              </a:spcBef>
              <a:spcAft>
                <a:spcPts val="0"/>
              </a:spcAft>
              <a:buClrTx/>
              <a:buSzTx/>
              <a:tabLst/>
              <a:defRPr/>
            </a:pPr>
            <a:r>
              <a:rPr lang="en-US" sz="1600" b="1">
                <a:solidFill>
                  <a:prstClr val="black"/>
                </a:solidFill>
                <a:latin typeface="Calibri" panose="020F0502020204030204"/>
              </a:rPr>
              <a:t>Resour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Treatment, PEP, vaccination recommendations: </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hlinkClick r:id="rId3"/>
              </a:rPr>
              <a:t>www.nyc.gov/health/measles</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 </a:t>
            </a:r>
          </a:p>
          <a:p>
            <a:pPr marL="742950" lvl="1" indent="-285750">
              <a:buFont typeface="Arial" panose="020B0604020202020204" pitchFamily="34" charset="0"/>
              <a:buChar char="•"/>
              <a:defRPr/>
            </a:pPr>
            <a:r>
              <a:rPr lang="en-US" sz="1600">
                <a:solidFill>
                  <a:prstClr val="black"/>
                </a:solidFill>
                <a:latin typeface="Calibri" panose="020F0502020204030204"/>
              </a:rPr>
              <a:t>Se</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e guidance for provi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Screening and isolation guidance: </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hlinkClick r:id="rId4"/>
              </a:rPr>
              <a:t>www.nyc.gov/health</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 </a:t>
            </a:r>
          </a:p>
          <a:p>
            <a:pPr marL="742950" lvl="1" indent="-285750">
              <a:buFont typeface="Arial" panose="020B0604020202020204" pitchFamily="34" charset="0"/>
              <a:buChar char="•"/>
              <a:defRPr/>
            </a:pPr>
            <a:r>
              <a:rPr lang="en-US" sz="1600">
                <a:solidFill>
                  <a:prstClr val="black"/>
                </a:solidFill>
                <a:latin typeface="Calibri" panose="020F0502020204030204"/>
              </a:rPr>
              <a:t>Search</a:t>
            </a:r>
            <a:r>
              <a:rPr kumimoji="0" lang="en-US" sz="1600" i="0" u="none" strike="noStrike" kern="1200" cap="none" spc="0" normalizeH="0" baseline="0" noProof="0">
                <a:ln>
                  <a:noFill/>
                </a:ln>
                <a:solidFill>
                  <a:prstClr val="black"/>
                </a:solidFill>
                <a:effectLst/>
                <a:uLnTx/>
                <a:uFillTx/>
                <a:latin typeface="Calibri" panose="020F0502020204030204"/>
                <a:ea typeface="+mn-ea"/>
                <a:cs typeface="+mn-cs"/>
              </a:rPr>
              <a:t> “communicable disease preparedness”</a:t>
            </a:r>
            <a:endParaRPr lang="en-US" sz="1600">
              <a:solidFill>
                <a:prstClr val="black"/>
              </a:solidFill>
              <a:latin typeface="Calibri" panose="020F0502020204030204"/>
            </a:endParaRPr>
          </a:p>
          <a:p>
            <a:pPr marR="0" lvl="0" algn="l" defTabSz="914400" rtl="0" eaLnBrk="1" fontAlgn="auto" latinLnBrk="0" hangingPunct="1">
              <a:lnSpc>
                <a:spcPct val="100000"/>
              </a:lnSpc>
              <a:spcBef>
                <a:spcPts val="0"/>
              </a:spcBef>
              <a:spcAft>
                <a:spcPts val="0"/>
              </a:spcAft>
              <a:buClrTx/>
              <a:buSzTx/>
              <a:tabLst/>
              <a:defRPr/>
            </a:pPr>
            <a:endParaRPr kumimoji="0" lang="en-US" sz="1600" i="0" u="none" strike="noStrike" kern="1200" cap="none" spc="0" normalizeH="0" baseline="0" noProof="0">
              <a:ln>
                <a:noFill/>
              </a:ln>
              <a:solidFill>
                <a:prstClr val="black"/>
              </a:solidFill>
              <a:effectLst/>
              <a:uLnTx/>
              <a:uFillTx/>
              <a:latin typeface="Calibri" panose="020F0502020204030204"/>
              <a:ea typeface="+mn-ea"/>
              <a:cs typeface="+mn-cs"/>
            </a:endParaRPr>
          </a:p>
          <a:p>
            <a:pPr marL="742950" lvl="1" indent="-285750">
              <a:buFont typeface="Arial" panose="020B0604020202020204" pitchFamily="34" charset="0"/>
              <a:buChar char="•"/>
              <a:defRPr/>
            </a:pPr>
            <a:endParaRPr kumimoji="0" lang="en-US" sz="160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9673D19-7E67-2EC2-BCE9-93711C893F3D}"/>
              </a:ext>
            </a:extLst>
          </p:cNvPr>
          <p:cNvSpPr txBox="1"/>
          <p:nvPr/>
        </p:nvSpPr>
        <p:spPr>
          <a:xfrm>
            <a:off x="499872" y="6396940"/>
            <a:ext cx="101942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lide added after the meeting for additional </a:t>
            </a:r>
            <a:r>
              <a:rPr lang="en-US" sz="1400" i="1">
                <a:solidFill>
                  <a:prstClr val="black"/>
                </a:solidFill>
                <a:latin typeface="Calibri" panose="020F0502020204030204"/>
              </a:rPr>
              <a:t>context</a:t>
            </a: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750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3EEDA334-D057-44BE-8283-82F38687D121}"/>
              </a:ext>
            </a:extLst>
          </p:cNvPr>
          <p:cNvSpPr txBox="1">
            <a:spLocks/>
          </p:cNvSpPr>
          <p:nvPr/>
        </p:nvSpPr>
        <p:spPr bwMode="gray">
          <a:xfrm>
            <a:off x="499872" y="304154"/>
            <a:ext cx="10869168" cy="317639"/>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Calibri" panose="020F0502020204030204" pitchFamily="34" charset="0"/>
                <a:ea typeface="+mj-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000" b="0" i="0" u="none" kern="1200" cap="none" spc="0" normalizeH="0" baseline="0" noProof="0">
                <a:ln>
                  <a:noFill/>
                </a:ln>
                <a:solidFill>
                  <a:sysClr val="windowText" lastClr="000000"/>
                </a:solidFill>
                <a:effectLst/>
                <a:uLnTx/>
                <a:uFillTx/>
                <a:latin typeface="Calibri" panose="020F0502020204030204" pitchFamily="34" charset="0"/>
                <a:ea typeface="+mj-ea"/>
                <a:cs typeface="Calibri" panose="020F0502020204030204" pitchFamily="34" charset="0"/>
              </a:rPr>
              <a:t>Tuberculosis (TB) </a:t>
            </a:r>
            <a:r>
              <a:rPr lang="en-US">
                <a:solidFill>
                  <a:sysClr val="windowText" lastClr="000000"/>
                </a:solidFill>
              </a:rPr>
              <a:t>in </a:t>
            </a:r>
            <a:r>
              <a:rPr lang="en-US"/>
              <a:t>New York City </a:t>
            </a:r>
            <a:endParaRPr kumimoji="0" lang="en-US" sz="2000" b="0" i="0" u="none" strike="noStrike" kern="1200" cap="none" spc="0" normalizeH="0" baseline="0" noProof="0">
              <a:ln>
                <a:noFill/>
              </a:ln>
              <a:effectLst/>
              <a:uLnTx/>
              <a:uFillTx/>
              <a:latin typeface="Calibri" panose="020F0502020204030204" pitchFamily="34" charset="0"/>
              <a:ea typeface="+mj-ea"/>
              <a:cs typeface="Calibri" panose="020F0502020204030204" pitchFamily="34" charset="0"/>
            </a:endParaRPr>
          </a:p>
        </p:txBody>
      </p:sp>
      <p:sp>
        <p:nvSpPr>
          <p:cNvPr id="10" name="TextBox 9">
            <a:extLst>
              <a:ext uri="{FF2B5EF4-FFF2-40B4-BE49-F238E27FC236}">
                <a16:creationId xmlns:a16="http://schemas.microsoft.com/office/drawing/2014/main" id="{4E1D30F1-2CF8-56E6-473D-CEACD5D5DC75}"/>
              </a:ext>
            </a:extLst>
          </p:cNvPr>
          <p:cNvSpPr txBox="1"/>
          <p:nvPr/>
        </p:nvSpPr>
        <p:spPr>
          <a:xfrm>
            <a:off x="499872" y="621793"/>
            <a:ext cx="1019425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i="1">
                <a:latin typeface="Calibri" panose="020F0502020204030204"/>
              </a:rPr>
              <a:t>Since spring 2022, &gt;</a:t>
            </a:r>
            <a:r>
              <a:rPr kumimoji="0" lang="en-US" sz="1400" b="0" i="1" u="none" strike="noStrike" kern="1200" cap="none" spc="0" normalizeH="0" baseline="0" noProof="0">
                <a:ln>
                  <a:noFill/>
                </a:ln>
                <a:effectLst/>
                <a:uLnTx/>
                <a:uFillTx/>
                <a:latin typeface="Calibri" panose="020F0502020204030204"/>
                <a:ea typeface="+mn-ea"/>
                <a:cs typeface="+mn-cs"/>
              </a:rPr>
              <a:t>150,000 people have </a:t>
            </a:r>
            <a:r>
              <a:rPr lang="en-US" sz="1400" i="1">
                <a:latin typeface="Calibri" panose="020F0502020204030204"/>
              </a:rPr>
              <a:t>come to </a:t>
            </a:r>
            <a:r>
              <a:rPr kumimoji="0" lang="en-US" sz="1400" b="0" i="1" u="none" strike="noStrike" kern="1200" cap="none" spc="0" normalizeH="0" baseline="0" noProof="0">
                <a:ln>
                  <a:noFill/>
                </a:ln>
                <a:effectLst/>
                <a:uLnTx/>
                <a:uFillTx/>
                <a:latin typeface="Calibri" panose="020F0502020204030204"/>
                <a:ea typeface="+mn-ea"/>
                <a:cs typeface="+mn-cs"/>
              </a:rPr>
              <a:t>NYC </a:t>
            </a:r>
            <a:r>
              <a:rPr lang="en-US" sz="1400" i="1">
                <a:latin typeface="Calibri" panose="020F0502020204030204"/>
              </a:rPr>
              <a:t>shortly after crossing the U.S.-Mexico border. Many lived in or traveled through countries with high TB rates. </a:t>
            </a:r>
            <a:endParaRPr kumimoji="0" lang="en-US" sz="1400" b="0" i="1" u="none" strike="noStrike" kern="1200" cap="none" spc="0" normalizeH="0" baseline="0" noProof="0">
              <a:ln>
                <a:noFill/>
              </a:ln>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CFFD6CDD-B17F-5326-5ED1-CB1A9404D6C0}"/>
              </a:ext>
            </a:extLst>
          </p:cNvPr>
          <p:cNvSpPr txBox="1"/>
          <p:nvPr/>
        </p:nvSpPr>
        <p:spPr>
          <a:xfrm>
            <a:off x="603058" y="1247209"/>
            <a:ext cx="5492942" cy="4401205"/>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600" b="1">
                <a:solidFill>
                  <a:prstClr val="black"/>
                </a:solidFill>
              </a:rPr>
              <a:t>Considera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TB is a treatable but potentially severe diseas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TB affects people of all ages, races and backgroun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Screen people who recently arrived in NYC</a:t>
            </a:r>
            <a:r>
              <a:rPr kumimoji="0" lang="en-US" sz="1600" i="0" u="none" strike="noStrike" kern="1200" cap="none" spc="0" normalizeH="0" baseline="0" noProof="0">
                <a:ln>
                  <a:noFill/>
                </a:ln>
                <a:effectLst/>
                <a:uLnTx/>
                <a:uFillTx/>
                <a:ea typeface="+mn-ea"/>
                <a:cs typeface="+mn-cs"/>
              </a:rPr>
              <a:t> from countries with high TB rates for: </a:t>
            </a:r>
          </a:p>
          <a:p>
            <a:pPr marL="800100" lvl="1" indent="-342900">
              <a:buFont typeface="Arial" panose="020B0604020202020204" pitchFamily="34" charset="0"/>
              <a:buChar char="•"/>
              <a:defRPr/>
            </a:pPr>
            <a:r>
              <a:rPr kumimoji="0" lang="en-US" sz="1600" i="0" u="none" strike="noStrike" kern="1200" cap="none" spc="0" normalizeH="0" baseline="0" noProof="0">
                <a:ln>
                  <a:noFill/>
                </a:ln>
                <a:effectLst/>
                <a:uLnTx/>
                <a:uFillTx/>
                <a:ea typeface="+mn-ea"/>
                <a:cs typeface="+mn-cs"/>
              </a:rPr>
              <a:t>Symptoms of </a:t>
            </a:r>
            <a:r>
              <a:rPr lang="en-US" sz="1600"/>
              <a:t>active </a:t>
            </a:r>
            <a:r>
              <a:rPr kumimoji="0" lang="en-US" sz="1600" i="0" u="none" strike="noStrike" kern="1200" cap="none" spc="0" normalizeH="0" baseline="0" noProof="0">
                <a:ln>
                  <a:noFill/>
                </a:ln>
                <a:effectLst/>
                <a:uLnTx/>
                <a:uFillTx/>
                <a:ea typeface="+mn-ea"/>
                <a:cs typeface="+mn-cs"/>
              </a:rPr>
              <a:t>TB</a:t>
            </a:r>
          </a:p>
          <a:p>
            <a:pPr marL="800100" lvl="1" indent="-342900">
              <a:buFont typeface="Arial" panose="020B0604020202020204" pitchFamily="34" charset="0"/>
              <a:buChar char="•"/>
              <a:defRPr/>
            </a:pPr>
            <a:r>
              <a:rPr lang="en-US" sz="1600"/>
              <a:t>Latent TB infection </a:t>
            </a:r>
            <a:endParaRPr kumimoji="0" lang="en-US" sz="1600" i="0" u="none" strike="noStrike" kern="1200" cap="none" spc="0" normalizeH="0" baseline="0" noProof="0">
              <a:ln>
                <a:noFill/>
              </a:ln>
              <a:effectLst/>
              <a:uLnTx/>
              <a:uFillTx/>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rPr>
              <a:t>Testing, treatment, and consultation options are avail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hlinkClick r:id="rId3"/>
              </a:rPr>
              <a:t>Health Department Chest Centers</a:t>
            </a:r>
            <a:r>
              <a:rPr lang="en-US" sz="1600"/>
              <a:t> provide the following at no cost to patients:</a:t>
            </a:r>
          </a:p>
          <a:p>
            <a:pPr marL="800100" lvl="1" indent="-342900">
              <a:buFont typeface="Arial" panose="020B0604020202020204" pitchFamily="34" charset="0"/>
              <a:buChar char="•"/>
              <a:defRPr/>
            </a:pPr>
            <a:r>
              <a:rPr lang="en-US" sz="1600"/>
              <a:t>Active and latent TB treatment</a:t>
            </a:r>
          </a:p>
          <a:p>
            <a:pPr marL="800100" lvl="1" indent="-342900">
              <a:buFont typeface="Arial" panose="020B0604020202020204" pitchFamily="34" charset="0"/>
              <a:buChar char="•"/>
              <a:defRPr/>
            </a:pPr>
            <a:r>
              <a:rPr lang="en-US" sz="1600"/>
              <a:t>TB testing and evaluation (for people with a known  exposure or who recently arrived from countries with high TB rates)</a:t>
            </a:r>
          </a:p>
          <a:p>
            <a:pPr marL="0" marR="0" lvl="0" indent="0" algn="l" defTabSz="914400" rtl="0" eaLnBrk="1" fontAlgn="auto" latinLnBrk="0" hangingPunct="1">
              <a:lnSpc>
                <a:spcPct val="150000"/>
              </a:lnSpc>
              <a:spcBef>
                <a:spcPts val="0"/>
              </a:spcBef>
              <a:spcAft>
                <a:spcPts val="0"/>
              </a:spcAft>
              <a:buClrTx/>
              <a:buSzTx/>
              <a:buFontTx/>
              <a:buNone/>
              <a:tabLst/>
              <a:defRPr/>
            </a:pPr>
            <a:r>
              <a:rPr lang="en-US" sz="1600" b="1">
                <a:solidFill>
                  <a:prstClr val="black"/>
                </a:solidFill>
              </a:rPr>
              <a:t>Resources:</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prstClr val="black"/>
                </a:solidFill>
                <a:effectLst/>
                <a:uLnTx/>
                <a:uFillTx/>
                <a:ea typeface="+mn-ea"/>
                <a:cs typeface="+mn-cs"/>
              </a:rPr>
              <a:t>CDC: </a:t>
            </a:r>
            <a:r>
              <a:rPr kumimoji="0" lang="en-US" sz="1600" i="0" u="none" strike="noStrike" kern="1200" cap="none" spc="0" normalizeH="0" baseline="0" noProof="0">
                <a:ln>
                  <a:noFill/>
                </a:ln>
                <a:solidFill>
                  <a:prstClr val="black"/>
                </a:solidFill>
                <a:effectLst/>
                <a:uLnTx/>
                <a:uFillTx/>
                <a:ea typeface="+mn-ea"/>
                <a:cs typeface="+mn-cs"/>
                <a:hlinkClick r:id="rId4"/>
              </a:rPr>
              <a:t>Resources for TB Programs</a:t>
            </a:r>
            <a:endParaRPr kumimoji="0" lang="en-US" sz="1600" i="0" u="none" strike="noStrike" kern="1200" cap="none" spc="0" normalizeH="0" baseline="0" noProof="0">
              <a:ln>
                <a:noFill/>
              </a:ln>
              <a:solidFill>
                <a:prstClr val="black"/>
              </a:solidFill>
              <a:effectLst/>
              <a:uLnTx/>
              <a:uFillTx/>
              <a:ea typeface="+mn-ea"/>
              <a:cs typeface="+mn-cs"/>
            </a:endParaRP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n-US" sz="1600">
                <a:hlinkClick r:id="rId5"/>
              </a:rPr>
              <a:t>Tuberculosis - NYC Health</a:t>
            </a:r>
            <a:endParaRPr lang="en-US" sz="1600"/>
          </a:p>
        </p:txBody>
      </p:sp>
      <p:sp>
        <p:nvSpPr>
          <p:cNvPr id="2" name="Rectangle 1">
            <a:extLst>
              <a:ext uri="{FF2B5EF4-FFF2-40B4-BE49-F238E27FC236}">
                <a16:creationId xmlns:a16="http://schemas.microsoft.com/office/drawing/2014/main" id="{456C2753-9C97-152B-FE0E-BA7A87ABBD54}"/>
              </a:ext>
            </a:extLst>
          </p:cNvPr>
          <p:cNvSpPr/>
          <p:nvPr/>
        </p:nvSpPr>
        <p:spPr>
          <a:xfrm>
            <a:off x="6275031" y="1259496"/>
            <a:ext cx="4864023" cy="2482080"/>
          </a:xfrm>
          <a:prstGeom prst="rect">
            <a:avLst/>
          </a:prstGeom>
          <a:solidFill>
            <a:schemeClr val="bg2"/>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r>
              <a:rPr lang="en-US" b="1">
                <a:solidFill>
                  <a:schemeClr val="tx1"/>
                </a:solidFill>
              </a:rPr>
              <a:t>Signs and Symptoms of Active TB</a:t>
            </a:r>
          </a:p>
          <a:p>
            <a:pPr marL="742950" lvl="1" indent="-285750">
              <a:buFont typeface="Arial" panose="020B0604020202020204" pitchFamily="34" charset="0"/>
              <a:buChar char="•"/>
            </a:pPr>
            <a:r>
              <a:rPr lang="en-US">
                <a:solidFill>
                  <a:schemeClr val="tx1"/>
                </a:solidFill>
              </a:rPr>
              <a:t>Cough for &gt;2 weeks</a:t>
            </a:r>
          </a:p>
          <a:p>
            <a:pPr marL="742950" lvl="1" indent="-285750">
              <a:buFont typeface="Arial" panose="020B0604020202020204" pitchFamily="34" charset="0"/>
              <a:buChar char="•"/>
            </a:pPr>
            <a:r>
              <a:rPr lang="en-US">
                <a:solidFill>
                  <a:schemeClr val="tx1"/>
                </a:solidFill>
              </a:rPr>
              <a:t>Unexplained weight loss</a:t>
            </a:r>
          </a:p>
          <a:p>
            <a:pPr marL="742950" lvl="1" indent="-285750">
              <a:buFont typeface="Arial" panose="020B0604020202020204" pitchFamily="34" charset="0"/>
              <a:buChar char="•"/>
            </a:pPr>
            <a:r>
              <a:rPr lang="en-US">
                <a:solidFill>
                  <a:schemeClr val="tx1"/>
                </a:solidFill>
              </a:rPr>
              <a:t>Loss of appetite</a:t>
            </a:r>
          </a:p>
          <a:p>
            <a:pPr marL="742950" lvl="1" indent="-285750">
              <a:buFont typeface="Arial" panose="020B0604020202020204" pitchFamily="34" charset="0"/>
              <a:buChar char="•"/>
            </a:pPr>
            <a:r>
              <a:rPr lang="en-US">
                <a:solidFill>
                  <a:schemeClr val="tx1"/>
                </a:solidFill>
              </a:rPr>
              <a:t>Night sweats</a:t>
            </a:r>
          </a:p>
          <a:p>
            <a:pPr marL="742950" lvl="1" indent="-285750">
              <a:buFont typeface="Arial" panose="020B0604020202020204" pitchFamily="34" charset="0"/>
              <a:buChar char="•"/>
            </a:pPr>
            <a:r>
              <a:rPr lang="en-US">
                <a:solidFill>
                  <a:schemeClr val="tx1"/>
                </a:solidFill>
              </a:rPr>
              <a:t>Fever</a:t>
            </a:r>
          </a:p>
          <a:p>
            <a:pPr marL="742950" lvl="1" indent="-285750">
              <a:buFont typeface="Arial" panose="020B0604020202020204" pitchFamily="34" charset="0"/>
              <a:buChar char="•"/>
            </a:pPr>
            <a:r>
              <a:rPr lang="en-US">
                <a:solidFill>
                  <a:schemeClr val="tx1"/>
                </a:solidFill>
              </a:rPr>
              <a:t>Hemoptysis (coughing up blood)</a:t>
            </a:r>
          </a:p>
        </p:txBody>
      </p:sp>
      <p:sp>
        <p:nvSpPr>
          <p:cNvPr id="3" name="TextBox 2">
            <a:extLst>
              <a:ext uri="{FF2B5EF4-FFF2-40B4-BE49-F238E27FC236}">
                <a16:creationId xmlns:a16="http://schemas.microsoft.com/office/drawing/2014/main" id="{CE675AE2-7092-398D-3E4B-D7FED9606542}"/>
              </a:ext>
            </a:extLst>
          </p:cNvPr>
          <p:cNvSpPr txBox="1"/>
          <p:nvPr/>
        </p:nvSpPr>
        <p:spPr>
          <a:xfrm>
            <a:off x="6275030" y="3447811"/>
            <a:ext cx="4419096" cy="261610"/>
          </a:xfrm>
          <a:prstGeom prst="rect">
            <a:avLst/>
          </a:prstGeom>
          <a:noFill/>
        </p:spPr>
        <p:txBody>
          <a:bodyPr wrap="square" rtlCol="0">
            <a:spAutoFit/>
          </a:bodyPr>
          <a:lstStyle/>
          <a:p>
            <a:r>
              <a:rPr lang="en-US" sz="1100"/>
              <a:t>Source: CDC, NYC DOHMH Dear Colleague letter, April 11, 2023</a:t>
            </a:r>
          </a:p>
        </p:txBody>
      </p:sp>
    </p:spTree>
    <p:extLst>
      <p:ext uri="{BB962C8B-B14F-4D97-AF65-F5344CB8AC3E}">
        <p14:creationId xmlns:p14="http://schemas.microsoft.com/office/powerpoint/2010/main" val="10895981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1E428A"/>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1C8478-7D18-41B8-9A20-A924C21316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F4BF5D-8F9B-407A-AC8F-1C7206B5B534}"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BE128BB-F9C9-4D1E-8EF7-3A99EBCC7F36}"/>
              </a:ext>
            </a:extLst>
          </p:cNvPr>
          <p:cNvSpPr txBox="1"/>
          <p:nvPr/>
        </p:nvSpPr>
        <p:spPr>
          <a:xfrm>
            <a:off x="723014" y="3749979"/>
            <a:ext cx="1021788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Mpox</a:t>
            </a:r>
            <a:r>
              <a:rPr kumimoji="0" lang="en-US" sz="4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Update and Resources</a:t>
            </a:r>
          </a:p>
        </p:txBody>
      </p:sp>
    </p:spTree>
    <p:extLst>
      <p:ext uri="{BB962C8B-B14F-4D97-AF65-F5344CB8AC3E}">
        <p14:creationId xmlns:p14="http://schemas.microsoft.com/office/powerpoint/2010/main" val="3518672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Custom 14">
      <a:dk1>
        <a:sysClr val="windowText" lastClr="000000"/>
      </a:dk1>
      <a:lt1>
        <a:sysClr val="window" lastClr="FFFFFF"/>
      </a:lt1>
      <a:dk2>
        <a:srgbClr val="1F497D"/>
      </a:dk2>
      <a:lt2>
        <a:srgbClr val="EEECE1"/>
      </a:lt2>
      <a:accent1>
        <a:srgbClr val="172E77"/>
      </a:accent1>
      <a:accent2>
        <a:srgbClr val="F6791F"/>
      </a:accent2>
      <a:accent3>
        <a:srgbClr val="3884BF"/>
      </a:accent3>
      <a:accent4>
        <a:srgbClr val="88CBE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623A8BF23CAE4693DEBB84C7209FB7" ma:contentTypeVersion="16" ma:contentTypeDescription="Create a new document." ma:contentTypeScope="" ma:versionID="f3d3f7239883074b59f56c98419de7e8">
  <xsd:schema xmlns:xsd="http://www.w3.org/2001/XMLSchema" xmlns:xs="http://www.w3.org/2001/XMLSchema" xmlns:p="http://schemas.microsoft.com/office/2006/metadata/properties" xmlns:ns2="f73cb3d1-bad5-4ba3-84be-f006db68f428" xmlns:ns3="4514998d-7da9-462f-b057-211f4b30d63a" targetNamespace="http://schemas.microsoft.com/office/2006/metadata/properties" ma:root="true" ma:fieldsID="ead604b95747df3d4c15b7f58c6617e1" ns2:_="" ns3:_="">
    <xsd:import namespace="f73cb3d1-bad5-4ba3-84be-f006db68f428"/>
    <xsd:import namespace="4514998d-7da9-462f-b057-211f4b30d63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3cb3d1-bad5-4ba3-84be-f006db68f4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514998d-7da9-462f-b057-211f4b30d63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5884644-df4c-49c2-9ab5-212cc2976665}" ma:internalName="TaxCatchAll" ma:showField="CatchAllData" ma:web="4514998d-7da9-462f-b057-211f4b30d6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514998d-7da9-462f-b057-211f4b30d63a">
      <UserInfo>
        <DisplayName>Hillard, Laura</DisplayName>
        <AccountId>85</AccountId>
        <AccountType/>
      </UserInfo>
      <UserInfo>
        <DisplayName>Snebold, Laura</DisplayName>
        <AccountId>9</AccountId>
        <AccountType/>
      </UserInfo>
      <UserInfo>
        <DisplayName>Kunko, Nicole</DisplayName>
        <AccountId>13</AccountId>
        <AccountType/>
      </UserInfo>
      <UserInfo>
        <DisplayName>Buising, Carl</DisplayName>
        <AccountId>59</AccountId>
        <AccountType/>
      </UserInfo>
      <UserInfo>
        <DisplayName>Cairo, Melissa</DisplayName>
        <AccountId>27</AccountId>
        <AccountType/>
      </UserInfo>
    </SharedWithUsers>
    <lcf76f155ced4ddcb4097134ff3c332f xmlns="f73cb3d1-bad5-4ba3-84be-f006db68f428">
      <Terms xmlns="http://schemas.microsoft.com/office/infopath/2007/PartnerControls"/>
    </lcf76f155ced4ddcb4097134ff3c332f>
    <TaxCatchAll xmlns="4514998d-7da9-462f-b057-211f4b30d63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6A789F-134A-46F8-BBB2-B7B889FCB823}">
  <ds:schemaRefs>
    <ds:schemaRef ds:uri="4514998d-7da9-462f-b057-211f4b30d63a"/>
    <ds:schemaRef ds:uri="f73cb3d1-bad5-4ba3-84be-f006db68f42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08EADAE-7F32-4309-8B58-4290EEC12EE8}">
  <ds:schemaRefs>
    <ds:schemaRef ds:uri="4514998d-7da9-462f-b057-211f4b30d63a"/>
    <ds:schemaRef ds:uri="f73cb3d1-bad5-4ba3-84be-f006db68f42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98C7F1C-2945-4248-8382-E00B8059EAD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2299</Words>
  <Application>Microsoft Office PowerPoint</Application>
  <PresentationFormat>Widescreen</PresentationFormat>
  <Paragraphs>290</Paragraphs>
  <Slides>27</Slides>
  <Notes>1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8" baseType="lpstr">
      <vt:lpstr>Arial</vt:lpstr>
      <vt:lpstr>Calibri</vt:lpstr>
      <vt:lpstr>Calibri Light</vt:lpstr>
      <vt:lpstr>Open Sans</vt:lpstr>
      <vt:lpstr>Verdana</vt:lpstr>
      <vt:lpstr>Verdana (Headings)</vt:lpstr>
      <vt:lpstr>Wingdings</vt:lpstr>
      <vt:lpstr>Wingdings 2</vt:lpstr>
      <vt:lpstr>3_Office Theme</vt:lpstr>
      <vt:lpstr>4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iro, Melissa</dc:creator>
  <cp:lastModifiedBy>Wong, Alyssa</cp:lastModifiedBy>
  <cp:revision>3</cp:revision>
  <dcterms:created xsi:type="dcterms:W3CDTF">2023-01-25T17:37:11Z</dcterms:created>
  <dcterms:modified xsi:type="dcterms:W3CDTF">2024-01-12T14:1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1-25T17:37:1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1e3c686-24e8-4ded-9ecf-ff75567f338e</vt:lpwstr>
  </property>
  <property fmtid="{D5CDD505-2E9C-101B-9397-08002B2CF9AE}" pid="8" name="MSIP_Label_ea60d57e-af5b-4752-ac57-3e4f28ca11dc_ContentBits">
    <vt:lpwstr>0</vt:lpwstr>
  </property>
  <property fmtid="{D5CDD505-2E9C-101B-9397-08002B2CF9AE}" pid="9" name="ContentTypeId">
    <vt:lpwstr>0x010100FF623A8BF23CAE4693DEBB84C7209FB7</vt:lpwstr>
  </property>
  <property fmtid="{D5CDD505-2E9C-101B-9397-08002B2CF9AE}" pid="10" name="MediaServiceImageTags">
    <vt:lpwstr/>
  </property>
</Properties>
</file>